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8"/>
  </p:notesMasterIdLst>
  <p:handoutMasterIdLst>
    <p:handoutMasterId r:id="rId59"/>
  </p:handoutMasterIdLst>
  <p:sldIdLst>
    <p:sldId id="484" r:id="rId5"/>
    <p:sldId id="2763" r:id="rId6"/>
    <p:sldId id="2761" r:id="rId7"/>
    <p:sldId id="2765" r:id="rId8"/>
    <p:sldId id="2766" r:id="rId9"/>
    <p:sldId id="2767" r:id="rId10"/>
    <p:sldId id="2774" r:id="rId11"/>
    <p:sldId id="2773" r:id="rId12"/>
    <p:sldId id="428" r:id="rId13"/>
    <p:sldId id="369" r:id="rId14"/>
    <p:sldId id="429" r:id="rId15"/>
    <p:sldId id="2775" r:id="rId16"/>
    <p:sldId id="2769" r:id="rId17"/>
    <p:sldId id="2812" r:id="rId18"/>
    <p:sldId id="2776" r:id="rId19"/>
    <p:sldId id="2802" r:id="rId20"/>
    <p:sldId id="2770" r:id="rId21"/>
    <p:sldId id="2810" r:id="rId22"/>
    <p:sldId id="2791" r:id="rId23"/>
    <p:sldId id="2803" r:id="rId24"/>
    <p:sldId id="2792" r:id="rId25"/>
    <p:sldId id="2783" r:id="rId26"/>
    <p:sldId id="2804" r:id="rId27"/>
    <p:sldId id="2805" r:id="rId28"/>
    <p:sldId id="2807" r:id="rId29"/>
    <p:sldId id="2809" r:id="rId30"/>
    <p:sldId id="2784" r:id="rId31"/>
    <p:sldId id="2808" r:id="rId32"/>
    <p:sldId id="2806" r:id="rId33"/>
    <p:sldId id="2786" r:id="rId34"/>
    <p:sldId id="2787" r:id="rId35"/>
    <p:sldId id="2811" r:id="rId36"/>
    <p:sldId id="2781" r:id="rId37"/>
    <p:sldId id="2782" r:id="rId38"/>
    <p:sldId id="2779" r:id="rId39"/>
    <p:sldId id="2780" r:id="rId40"/>
    <p:sldId id="2777" r:id="rId41"/>
    <p:sldId id="2778" r:id="rId42"/>
    <p:sldId id="2788" r:id="rId43"/>
    <p:sldId id="2789" r:id="rId44"/>
    <p:sldId id="2790" r:id="rId45"/>
    <p:sldId id="2794" r:id="rId46"/>
    <p:sldId id="2796" r:id="rId47"/>
    <p:sldId id="2797" r:id="rId48"/>
    <p:sldId id="2798" r:id="rId49"/>
    <p:sldId id="2799" r:id="rId50"/>
    <p:sldId id="2800" r:id="rId51"/>
    <p:sldId id="2801" r:id="rId52"/>
    <p:sldId id="2795" r:id="rId53"/>
    <p:sldId id="381" r:id="rId54"/>
    <p:sldId id="2764" r:id="rId55"/>
    <p:sldId id="2771" r:id="rId56"/>
    <p:sldId id="2772" r:id="rId57"/>
  </p:sldIdLst>
  <p:sldSz cx="12192000" cy="6858000"/>
  <p:notesSz cx="6858000" cy="9926638"/>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709" userDrawn="1">
          <p15:clr>
            <a:srgbClr val="A4A3A4"/>
          </p15:clr>
        </p15:guide>
        <p15:guide id="4" orient="horz" pos="2772" userDrawn="1">
          <p15:clr>
            <a:srgbClr val="A4A3A4"/>
          </p15:clr>
        </p15:guide>
        <p15:guide id="5" orient="horz" pos="1480">
          <p15:clr>
            <a:srgbClr val="A4A3A4"/>
          </p15:clr>
        </p15:guide>
        <p15:guide id="6" pos="601" userDrawn="1">
          <p15:clr>
            <a:srgbClr val="A4A3A4"/>
          </p15:clr>
        </p15:guide>
        <p15:guide id="7" pos="3250" userDrawn="1">
          <p15:clr>
            <a:srgbClr val="A4A3A4"/>
          </p15:clr>
        </p15:guide>
        <p15:guide id="8" pos="302">
          <p15:clr>
            <a:srgbClr val="A4A3A4"/>
          </p15:clr>
        </p15:guide>
        <p15:guide id="9" pos="5745" userDrawn="1">
          <p15:clr>
            <a:srgbClr val="A4A3A4"/>
          </p15:clr>
        </p15:guide>
        <p15:guide id="10" pos="6267" userDrawn="1">
          <p15:clr>
            <a:srgbClr val="A4A3A4"/>
          </p15:clr>
        </p15:guide>
        <p15:guide id="11" pos="4135" userDrawn="1">
          <p15:clr>
            <a:srgbClr val="A4A3A4"/>
          </p15:clr>
        </p15:guide>
        <p15:guide id="12" pos="2486" userDrawn="1">
          <p15:clr>
            <a:srgbClr val="A4A3A4"/>
          </p15:clr>
        </p15:guide>
        <p15:guide id="13" pos="694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nge, Alexander" initials="L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A1AC"/>
    <a:srgbClr val="658B99"/>
    <a:srgbClr val="768188"/>
    <a:srgbClr val="FFFFCC"/>
    <a:srgbClr val="FFCCFF"/>
    <a:srgbClr val="DBB7FF"/>
    <a:srgbClr val="FFCCCC"/>
    <a:srgbClr val="CC99FF"/>
    <a:srgbClr val="CCFF99"/>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7191FD-118D-4B5C-8D84-D687A2423CC6}" v="4" dt="2020-06-01T09:30:17.8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90" y="612"/>
      </p:cViewPr>
      <p:guideLst>
        <p:guide pos="3840"/>
        <p:guide orient="horz" pos="709"/>
        <p:guide orient="horz" pos="2772"/>
        <p:guide orient="horz" pos="1480"/>
        <p:guide pos="601"/>
        <p:guide pos="3250"/>
        <p:guide pos="302"/>
        <p:guide pos="5745"/>
        <p:guide pos="6267"/>
        <p:guide pos="4135"/>
        <p:guide pos="2486"/>
        <p:guide pos="6947"/>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lzer, Michael" userId="f519b7e4-1dfb-4739-bac6-eec18ac433c0" providerId="ADAL" clId="{FB7191FD-118D-4B5C-8D84-D687A2423CC6}"/>
    <pc:docChg chg="undo custSel addSld delSld modSld sldOrd">
      <pc:chgData name="Palzer, Michael" userId="f519b7e4-1dfb-4739-bac6-eec18ac433c0" providerId="ADAL" clId="{FB7191FD-118D-4B5C-8D84-D687A2423CC6}" dt="2020-06-01T09:33:30.585" v="2718" actId="1076"/>
      <pc:docMkLst>
        <pc:docMk/>
      </pc:docMkLst>
      <pc:sldChg chg="addSp delSp modSp">
        <pc:chgData name="Palzer, Michael" userId="f519b7e4-1dfb-4739-bac6-eec18ac433c0" providerId="ADAL" clId="{FB7191FD-118D-4B5C-8D84-D687A2423CC6}" dt="2020-05-18T08:25:01.988" v="94" actId="20577"/>
        <pc:sldMkLst>
          <pc:docMk/>
          <pc:sldMk cId="3185929055" sldId="484"/>
        </pc:sldMkLst>
        <pc:spChg chg="mod">
          <ac:chgData name="Palzer, Michael" userId="f519b7e4-1dfb-4739-bac6-eec18ac433c0" providerId="ADAL" clId="{FB7191FD-118D-4B5C-8D84-D687A2423CC6}" dt="2020-05-18T08:25:01.988" v="94" actId="20577"/>
          <ac:spMkLst>
            <pc:docMk/>
            <pc:sldMk cId="3185929055" sldId="484"/>
            <ac:spMk id="14" creationId="{00000000-0000-0000-0000-000000000000}"/>
          </ac:spMkLst>
        </pc:spChg>
        <pc:picChg chg="add mod ord">
          <ac:chgData name="Palzer, Michael" userId="f519b7e4-1dfb-4739-bac6-eec18ac433c0" providerId="ADAL" clId="{FB7191FD-118D-4B5C-8D84-D687A2423CC6}" dt="2020-05-18T08:20:33.887" v="5" actId="171"/>
          <ac:picMkLst>
            <pc:docMk/>
            <pc:sldMk cId="3185929055" sldId="484"/>
            <ac:picMk id="2" creationId="{06474DCD-376C-44BE-A8CA-AC354FEE10B3}"/>
          </ac:picMkLst>
        </pc:picChg>
        <pc:picChg chg="del">
          <ac:chgData name="Palzer, Michael" userId="f519b7e4-1dfb-4739-bac6-eec18ac433c0" providerId="ADAL" clId="{FB7191FD-118D-4B5C-8D84-D687A2423CC6}" dt="2020-05-18T08:14:57.875" v="0" actId="478"/>
          <ac:picMkLst>
            <pc:docMk/>
            <pc:sldMk cId="3185929055" sldId="484"/>
            <ac:picMk id="3" creationId="{00000000-0000-0000-0000-000000000000}"/>
          </ac:picMkLst>
        </pc:picChg>
      </pc:sldChg>
      <pc:sldChg chg="modSp ord">
        <pc:chgData name="Palzer, Michael" userId="f519b7e4-1dfb-4739-bac6-eec18ac433c0" providerId="ADAL" clId="{FB7191FD-118D-4B5C-8D84-D687A2423CC6}" dt="2020-05-18T08:34:27.649" v="584" actId="20577"/>
        <pc:sldMkLst>
          <pc:docMk/>
          <pc:sldMk cId="1561407917" sldId="2761"/>
        </pc:sldMkLst>
        <pc:spChg chg="mod">
          <ac:chgData name="Palzer, Michael" userId="f519b7e4-1dfb-4739-bac6-eec18ac433c0" providerId="ADAL" clId="{FB7191FD-118D-4B5C-8D84-D687A2423CC6}" dt="2020-05-18T08:34:27.649" v="584" actId="20577"/>
          <ac:spMkLst>
            <pc:docMk/>
            <pc:sldMk cId="1561407917" sldId="2761"/>
            <ac:spMk id="5" creationId="{86A401B8-939D-478C-9AF6-9C1C517BEDA8}"/>
          </ac:spMkLst>
        </pc:spChg>
      </pc:sldChg>
      <pc:sldChg chg="addSp delSp modSp add">
        <pc:chgData name="Palzer, Michael" userId="f519b7e4-1dfb-4739-bac6-eec18ac433c0" providerId="ADAL" clId="{FB7191FD-118D-4B5C-8D84-D687A2423CC6}" dt="2020-05-18T08:24:12.651" v="61" actId="1076"/>
        <pc:sldMkLst>
          <pc:docMk/>
          <pc:sldMk cId="1235930089" sldId="2763"/>
        </pc:sldMkLst>
        <pc:spChg chg="mod">
          <ac:chgData name="Palzer, Michael" userId="f519b7e4-1dfb-4739-bac6-eec18ac433c0" providerId="ADAL" clId="{FB7191FD-118D-4B5C-8D84-D687A2423CC6}" dt="2020-05-18T08:23:30.127" v="48" actId="20577"/>
          <ac:spMkLst>
            <pc:docMk/>
            <pc:sldMk cId="1235930089" sldId="2763"/>
            <ac:spMk id="2" creationId="{73E4A998-7E8F-4C73-B638-2AD602E74401}"/>
          </ac:spMkLst>
        </pc:spChg>
        <pc:spChg chg="del">
          <ac:chgData name="Palzer, Michael" userId="f519b7e4-1dfb-4739-bac6-eec18ac433c0" providerId="ADAL" clId="{FB7191FD-118D-4B5C-8D84-D687A2423CC6}" dt="2020-05-18T08:23:14.886" v="36" actId="478"/>
          <ac:spMkLst>
            <pc:docMk/>
            <pc:sldMk cId="1235930089" sldId="2763"/>
            <ac:spMk id="4" creationId="{40205365-EC3D-461B-8419-314431047CC8}"/>
          </ac:spMkLst>
        </pc:spChg>
        <pc:picChg chg="add mod modCrop">
          <ac:chgData name="Palzer, Michael" userId="f519b7e4-1dfb-4739-bac6-eec18ac433c0" providerId="ADAL" clId="{FB7191FD-118D-4B5C-8D84-D687A2423CC6}" dt="2020-05-18T08:24:12.651" v="61" actId="1076"/>
          <ac:picMkLst>
            <pc:docMk/>
            <pc:sldMk cId="1235930089" sldId="2763"/>
            <ac:picMk id="5" creationId="{9CCD80C2-5749-4CF3-918B-FBA985A6825C}"/>
          </ac:picMkLst>
        </pc:picChg>
      </pc:sldChg>
      <pc:sldChg chg="modSp add">
        <pc:chgData name="Palzer, Michael" userId="f519b7e4-1dfb-4739-bac6-eec18ac433c0" providerId="ADAL" clId="{FB7191FD-118D-4B5C-8D84-D687A2423CC6}" dt="2020-05-18T08:31:45.461" v="454" actId="20577"/>
        <pc:sldMkLst>
          <pc:docMk/>
          <pc:sldMk cId="1776246628" sldId="2765"/>
        </pc:sldMkLst>
        <pc:spChg chg="mod">
          <ac:chgData name="Palzer, Michael" userId="f519b7e4-1dfb-4739-bac6-eec18ac433c0" providerId="ADAL" clId="{FB7191FD-118D-4B5C-8D84-D687A2423CC6}" dt="2020-05-18T08:31:45.461" v="454" actId="20577"/>
          <ac:spMkLst>
            <pc:docMk/>
            <pc:sldMk cId="1776246628" sldId="2765"/>
            <ac:spMk id="2" creationId="{73E4A998-7E8F-4C73-B638-2AD602E74401}"/>
          </ac:spMkLst>
        </pc:spChg>
        <pc:spChg chg="mod">
          <ac:chgData name="Palzer, Michael" userId="f519b7e4-1dfb-4739-bac6-eec18ac433c0" providerId="ADAL" clId="{FB7191FD-118D-4B5C-8D84-D687A2423CC6}" dt="2020-05-18T08:30:22.284" v="415" actId="6549"/>
          <ac:spMkLst>
            <pc:docMk/>
            <pc:sldMk cId="1776246628" sldId="2765"/>
            <ac:spMk id="4" creationId="{40205365-EC3D-461B-8419-314431047CC8}"/>
          </ac:spMkLst>
        </pc:spChg>
      </pc:sldChg>
      <pc:sldChg chg="modSp add ord">
        <pc:chgData name="Palzer, Michael" userId="f519b7e4-1dfb-4739-bac6-eec18ac433c0" providerId="ADAL" clId="{FB7191FD-118D-4B5C-8D84-D687A2423CC6}" dt="2020-05-18T08:32:43.998" v="540" actId="20577"/>
        <pc:sldMkLst>
          <pc:docMk/>
          <pc:sldMk cId="2334739735" sldId="2766"/>
        </pc:sldMkLst>
        <pc:spChg chg="mod">
          <ac:chgData name="Palzer, Michael" userId="f519b7e4-1dfb-4739-bac6-eec18ac433c0" providerId="ADAL" clId="{FB7191FD-118D-4B5C-8D84-D687A2423CC6}" dt="2020-05-18T08:31:29.751" v="425" actId="20577"/>
          <ac:spMkLst>
            <pc:docMk/>
            <pc:sldMk cId="2334739735" sldId="2766"/>
            <ac:spMk id="2" creationId="{73E4A998-7E8F-4C73-B638-2AD602E74401}"/>
          </ac:spMkLst>
        </pc:spChg>
        <pc:spChg chg="mod">
          <ac:chgData name="Palzer, Michael" userId="f519b7e4-1dfb-4739-bac6-eec18ac433c0" providerId="ADAL" clId="{FB7191FD-118D-4B5C-8D84-D687A2423CC6}" dt="2020-05-18T08:32:43.998" v="540" actId="20577"/>
          <ac:spMkLst>
            <pc:docMk/>
            <pc:sldMk cId="2334739735" sldId="2766"/>
            <ac:spMk id="4" creationId="{40205365-EC3D-461B-8419-314431047CC8}"/>
          </ac:spMkLst>
        </pc:spChg>
      </pc:sldChg>
      <pc:sldChg chg="addSp delSp modSp add ord">
        <pc:chgData name="Palzer, Michael" userId="f519b7e4-1dfb-4739-bac6-eec18ac433c0" providerId="ADAL" clId="{FB7191FD-118D-4B5C-8D84-D687A2423CC6}" dt="2020-05-18T08:34:16.080" v="575" actId="478"/>
        <pc:sldMkLst>
          <pc:docMk/>
          <pc:sldMk cId="1786585900" sldId="2767"/>
        </pc:sldMkLst>
        <pc:spChg chg="del">
          <ac:chgData name="Palzer, Michael" userId="f519b7e4-1dfb-4739-bac6-eec18ac433c0" providerId="ADAL" clId="{FB7191FD-118D-4B5C-8D84-D687A2423CC6}" dt="2020-05-18T08:34:16.080" v="575" actId="478"/>
          <ac:spMkLst>
            <pc:docMk/>
            <pc:sldMk cId="1786585900" sldId="2767"/>
            <ac:spMk id="2" creationId="{73E4A998-7E8F-4C73-B638-2AD602E74401}"/>
          </ac:spMkLst>
        </pc:spChg>
        <pc:spChg chg="del">
          <ac:chgData name="Palzer, Michael" userId="f519b7e4-1dfb-4739-bac6-eec18ac433c0" providerId="ADAL" clId="{FB7191FD-118D-4B5C-8D84-D687A2423CC6}" dt="2020-05-18T08:33:04.738" v="541" actId="478"/>
          <ac:spMkLst>
            <pc:docMk/>
            <pc:sldMk cId="1786585900" sldId="2767"/>
            <ac:spMk id="4" creationId="{40205365-EC3D-461B-8419-314431047CC8}"/>
          </ac:spMkLst>
        </pc:spChg>
        <pc:picChg chg="add del mod modCrop">
          <ac:chgData name="Palzer, Michael" userId="f519b7e4-1dfb-4739-bac6-eec18ac433c0" providerId="ADAL" clId="{FB7191FD-118D-4B5C-8D84-D687A2423CC6}" dt="2020-05-18T08:33:52.096" v="556" actId="478"/>
          <ac:picMkLst>
            <pc:docMk/>
            <pc:sldMk cId="1786585900" sldId="2767"/>
            <ac:picMk id="5" creationId="{79201616-6E95-407F-8034-0A74973253D5}"/>
          </ac:picMkLst>
        </pc:picChg>
        <pc:picChg chg="add mod modCrop">
          <ac:chgData name="Palzer, Michael" userId="f519b7e4-1dfb-4739-bac6-eec18ac433c0" providerId="ADAL" clId="{FB7191FD-118D-4B5C-8D84-D687A2423CC6}" dt="2020-05-18T08:33:46.830" v="553" actId="14100"/>
          <ac:picMkLst>
            <pc:docMk/>
            <pc:sldMk cId="1786585900" sldId="2767"/>
            <ac:picMk id="6" creationId="{C795A963-CB0B-458E-A340-1C68A1F0CA8A}"/>
          </ac:picMkLst>
        </pc:picChg>
      </pc:sldChg>
      <pc:sldChg chg="addSp delSp modSp add">
        <pc:chgData name="Palzer, Michael" userId="f519b7e4-1dfb-4739-bac6-eec18ac433c0" providerId="ADAL" clId="{FB7191FD-118D-4B5C-8D84-D687A2423CC6}" dt="2020-06-01T09:12:26.338" v="1507" actId="20577"/>
        <pc:sldMkLst>
          <pc:docMk/>
          <pc:sldMk cId="2704028762" sldId="2769"/>
        </pc:sldMkLst>
        <pc:spChg chg="mod">
          <ac:chgData name="Palzer, Michael" userId="f519b7e4-1dfb-4739-bac6-eec18ac433c0" providerId="ADAL" clId="{FB7191FD-118D-4B5C-8D84-D687A2423CC6}" dt="2020-05-18T08:37:25.500" v="702" actId="20577"/>
          <ac:spMkLst>
            <pc:docMk/>
            <pc:sldMk cId="2704028762" sldId="2769"/>
            <ac:spMk id="2" creationId="{73E4A998-7E8F-4C73-B638-2AD602E74401}"/>
          </ac:spMkLst>
        </pc:spChg>
        <pc:spChg chg="del">
          <ac:chgData name="Palzer, Michael" userId="f519b7e4-1dfb-4739-bac6-eec18ac433c0" providerId="ADAL" clId="{FB7191FD-118D-4B5C-8D84-D687A2423CC6}" dt="2020-05-18T08:36:47.671" v="651" actId="478"/>
          <ac:spMkLst>
            <pc:docMk/>
            <pc:sldMk cId="2704028762" sldId="2769"/>
            <ac:spMk id="4" creationId="{40205365-EC3D-461B-8419-314431047CC8}"/>
          </ac:spMkLst>
        </pc:spChg>
        <pc:spChg chg="mod">
          <ac:chgData name="Palzer, Michael" userId="f519b7e4-1dfb-4739-bac6-eec18ac433c0" providerId="ADAL" clId="{FB7191FD-118D-4B5C-8D84-D687A2423CC6}" dt="2020-06-01T09:12:26.338" v="1507" actId="20577"/>
          <ac:spMkLst>
            <pc:docMk/>
            <pc:sldMk cId="2704028762" sldId="2769"/>
            <ac:spMk id="4" creationId="{AA9A93D3-73F3-4FBA-8A78-B7122772B010}"/>
          </ac:spMkLst>
        </pc:spChg>
        <pc:picChg chg="add mod">
          <ac:chgData name="Palzer, Michael" userId="f519b7e4-1dfb-4739-bac6-eec18ac433c0" providerId="ADAL" clId="{FB7191FD-118D-4B5C-8D84-D687A2423CC6}" dt="2020-05-18T08:36:55.459" v="656" actId="1076"/>
          <ac:picMkLst>
            <pc:docMk/>
            <pc:sldMk cId="2704028762" sldId="2769"/>
            <ac:picMk id="5" creationId="{D75A33A4-8DA5-47AC-B190-B61622C1B3C8}"/>
          </ac:picMkLst>
        </pc:picChg>
      </pc:sldChg>
      <pc:sldChg chg="addSp delSp modSp add">
        <pc:chgData name="Palzer, Michael" userId="f519b7e4-1dfb-4739-bac6-eec18ac433c0" providerId="ADAL" clId="{FB7191FD-118D-4B5C-8D84-D687A2423CC6}" dt="2020-05-18T08:45:18.516" v="952" actId="20577"/>
        <pc:sldMkLst>
          <pc:docMk/>
          <pc:sldMk cId="1228551679" sldId="2770"/>
        </pc:sldMkLst>
        <pc:spChg chg="mod">
          <ac:chgData name="Palzer, Michael" userId="f519b7e4-1dfb-4739-bac6-eec18ac433c0" providerId="ADAL" clId="{FB7191FD-118D-4B5C-8D84-D687A2423CC6}" dt="2020-05-18T08:45:18.516" v="952" actId="20577"/>
          <ac:spMkLst>
            <pc:docMk/>
            <pc:sldMk cId="1228551679" sldId="2770"/>
            <ac:spMk id="2" creationId="{73E4A998-7E8F-4C73-B638-2AD602E74401}"/>
          </ac:spMkLst>
        </pc:spChg>
        <pc:spChg chg="del">
          <ac:chgData name="Palzer, Michael" userId="f519b7e4-1dfb-4739-bac6-eec18ac433c0" providerId="ADAL" clId="{FB7191FD-118D-4B5C-8D84-D687A2423CC6}" dt="2020-05-18T08:45:03.865" v="940" actId="478"/>
          <ac:spMkLst>
            <pc:docMk/>
            <pc:sldMk cId="1228551679" sldId="2770"/>
            <ac:spMk id="4" creationId="{40205365-EC3D-461B-8419-314431047CC8}"/>
          </ac:spMkLst>
        </pc:spChg>
        <pc:picChg chg="add mod">
          <ac:chgData name="Palzer, Michael" userId="f519b7e4-1dfb-4739-bac6-eec18ac433c0" providerId="ADAL" clId="{FB7191FD-118D-4B5C-8D84-D687A2423CC6}" dt="2020-05-18T08:45:10.611" v="944" actId="1076"/>
          <ac:picMkLst>
            <pc:docMk/>
            <pc:sldMk cId="1228551679" sldId="2770"/>
            <ac:picMk id="5" creationId="{4070F2FE-6FBA-46DB-9E4D-A6B228F62DA5}"/>
          </ac:picMkLst>
        </pc:picChg>
      </pc:sldChg>
      <pc:sldChg chg="modSp add ord">
        <pc:chgData name="Palzer, Michael" userId="f519b7e4-1dfb-4739-bac6-eec18ac433c0" providerId="ADAL" clId="{FB7191FD-118D-4B5C-8D84-D687A2423CC6}" dt="2020-05-18T08:24:41.181" v="85" actId="20577"/>
        <pc:sldMkLst>
          <pc:docMk/>
          <pc:sldMk cId="3980513081" sldId="2771"/>
        </pc:sldMkLst>
        <pc:spChg chg="mod">
          <ac:chgData name="Palzer, Michael" userId="f519b7e4-1dfb-4739-bac6-eec18ac433c0" providerId="ADAL" clId="{FB7191FD-118D-4B5C-8D84-D687A2423CC6}" dt="2020-05-18T08:24:41.181" v="85" actId="20577"/>
          <ac:spMkLst>
            <pc:docMk/>
            <pc:sldMk cId="3980513081" sldId="2771"/>
            <ac:spMk id="5" creationId="{86A401B8-939D-478C-9AF6-9C1C517BEDA8}"/>
          </ac:spMkLst>
        </pc:spChg>
      </pc:sldChg>
      <pc:sldChg chg="add ord">
        <pc:chgData name="Palzer, Michael" userId="f519b7e4-1dfb-4739-bac6-eec18ac433c0" providerId="ADAL" clId="{FB7191FD-118D-4B5C-8D84-D687A2423CC6}" dt="2020-05-18T08:24:50.299" v="88"/>
        <pc:sldMkLst>
          <pc:docMk/>
          <pc:sldMk cId="2366318035" sldId="2772"/>
        </pc:sldMkLst>
      </pc:sldChg>
      <pc:sldChg chg="modSp add">
        <pc:chgData name="Palzer, Michael" userId="f519b7e4-1dfb-4739-bac6-eec18ac433c0" providerId="ADAL" clId="{FB7191FD-118D-4B5C-8D84-D687A2423CC6}" dt="2020-05-18T08:35:08.116" v="606" actId="20577"/>
        <pc:sldMkLst>
          <pc:docMk/>
          <pc:sldMk cId="3150901493" sldId="2773"/>
        </pc:sldMkLst>
        <pc:spChg chg="mod">
          <ac:chgData name="Palzer, Michael" userId="f519b7e4-1dfb-4739-bac6-eec18ac433c0" providerId="ADAL" clId="{FB7191FD-118D-4B5C-8D84-D687A2423CC6}" dt="2020-05-18T08:35:08.116" v="606" actId="20577"/>
          <ac:spMkLst>
            <pc:docMk/>
            <pc:sldMk cId="3150901493" sldId="2773"/>
            <ac:spMk id="5" creationId="{86A401B8-939D-478C-9AF6-9C1C517BEDA8}"/>
          </ac:spMkLst>
        </pc:spChg>
      </pc:sldChg>
      <pc:sldChg chg="delSp modSp add ord">
        <pc:chgData name="Palzer, Michael" userId="f519b7e4-1dfb-4739-bac6-eec18ac433c0" providerId="ADAL" clId="{FB7191FD-118D-4B5C-8D84-D687A2423CC6}" dt="2020-05-18T08:34:11.512" v="574" actId="20577"/>
        <pc:sldMkLst>
          <pc:docMk/>
          <pc:sldMk cId="2267256560" sldId="2774"/>
        </pc:sldMkLst>
        <pc:spChg chg="mod">
          <ac:chgData name="Palzer, Michael" userId="f519b7e4-1dfb-4739-bac6-eec18ac433c0" providerId="ADAL" clId="{FB7191FD-118D-4B5C-8D84-D687A2423CC6}" dt="2020-05-18T08:34:11.512" v="574" actId="20577"/>
          <ac:spMkLst>
            <pc:docMk/>
            <pc:sldMk cId="2267256560" sldId="2774"/>
            <ac:spMk id="2" creationId="{73E4A998-7E8F-4C73-B638-2AD602E74401}"/>
          </ac:spMkLst>
        </pc:spChg>
        <pc:picChg chg="del">
          <ac:chgData name="Palzer, Michael" userId="f519b7e4-1dfb-4739-bac6-eec18ac433c0" providerId="ADAL" clId="{FB7191FD-118D-4B5C-8D84-D687A2423CC6}" dt="2020-05-18T08:33:55.244" v="557" actId="478"/>
          <ac:picMkLst>
            <pc:docMk/>
            <pc:sldMk cId="2267256560" sldId="2774"/>
            <ac:picMk id="6" creationId="{C795A963-CB0B-458E-A340-1C68A1F0CA8A}"/>
          </ac:picMkLst>
        </pc:picChg>
      </pc:sldChg>
      <pc:sldChg chg="modSp add">
        <pc:chgData name="Palzer, Michael" userId="f519b7e4-1dfb-4739-bac6-eec18ac433c0" providerId="ADAL" clId="{FB7191FD-118D-4B5C-8D84-D687A2423CC6}" dt="2020-05-18T08:35:18.439" v="627" actId="20577"/>
        <pc:sldMkLst>
          <pc:docMk/>
          <pc:sldMk cId="3563111271" sldId="2775"/>
        </pc:sldMkLst>
        <pc:spChg chg="mod">
          <ac:chgData name="Palzer, Michael" userId="f519b7e4-1dfb-4739-bac6-eec18ac433c0" providerId="ADAL" clId="{FB7191FD-118D-4B5C-8D84-D687A2423CC6}" dt="2020-05-18T08:35:18.439" v="627" actId="20577"/>
          <ac:spMkLst>
            <pc:docMk/>
            <pc:sldMk cId="3563111271" sldId="2775"/>
            <ac:spMk id="5" creationId="{86A401B8-939D-478C-9AF6-9C1C517BEDA8}"/>
          </ac:spMkLst>
        </pc:spChg>
      </pc:sldChg>
      <pc:sldChg chg="modSp add">
        <pc:chgData name="Palzer, Michael" userId="f519b7e4-1dfb-4739-bac6-eec18ac433c0" providerId="ADAL" clId="{FB7191FD-118D-4B5C-8D84-D687A2423CC6}" dt="2020-05-18T08:35:29.234" v="632"/>
        <pc:sldMkLst>
          <pc:docMk/>
          <pc:sldMk cId="3068561451" sldId="2776"/>
        </pc:sldMkLst>
        <pc:spChg chg="mod">
          <ac:chgData name="Palzer, Michael" userId="f519b7e4-1dfb-4739-bac6-eec18ac433c0" providerId="ADAL" clId="{FB7191FD-118D-4B5C-8D84-D687A2423CC6}" dt="2020-05-18T08:35:29.234" v="632"/>
          <ac:spMkLst>
            <pc:docMk/>
            <pc:sldMk cId="3068561451" sldId="2776"/>
            <ac:spMk id="5" creationId="{86A401B8-939D-478C-9AF6-9C1C517BEDA8}"/>
          </ac:spMkLst>
        </pc:spChg>
      </pc:sldChg>
      <pc:sldChg chg="modSp add">
        <pc:chgData name="Palzer, Michael" userId="f519b7e4-1dfb-4739-bac6-eec18ac433c0" providerId="ADAL" clId="{FB7191FD-118D-4B5C-8D84-D687A2423CC6}" dt="2020-05-18T08:45:42.340" v="960" actId="20577"/>
        <pc:sldMkLst>
          <pc:docMk/>
          <pc:sldMk cId="253678474" sldId="2777"/>
        </pc:sldMkLst>
        <pc:spChg chg="mod">
          <ac:chgData name="Palzer, Michael" userId="f519b7e4-1dfb-4739-bac6-eec18ac433c0" providerId="ADAL" clId="{FB7191FD-118D-4B5C-8D84-D687A2423CC6}" dt="2020-05-18T08:45:42.340" v="960" actId="20577"/>
          <ac:spMkLst>
            <pc:docMk/>
            <pc:sldMk cId="253678474" sldId="2777"/>
            <ac:spMk id="5" creationId="{86A401B8-939D-478C-9AF6-9C1C517BEDA8}"/>
          </ac:spMkLst>
        </pc:spChg>
      </pc:sldChg>
      <pc:sldChg chg="addSp delSp modSp add">
        <pc:chgData name="Palzer, Michael" userId="f519b7e4-1dfb-4739-bac6-eec18ac433c0" providerId="ADAL" clId="{FB7191FD-118D-4B5C-8D84-D687A2423CC6}" dt="2020-05-18T09:02:03.793" v="966" actId="1076"/>
        <pc:sldMkLst>
          <pc:docMk/>
          <pc:sldMk cId="3681709291" sldId="2778"/>
        </pc:sldMkLst>
        <pc:spChg chg="del">
          <ac:chgData name="Palzer, Michael" userId="f519b7e4-1dfb-4739-bac6-eec18ac433c0" providerId="ADAL" clId="{FB7191FD-118D-4B5C-8D84-D687A2423CC6}" dt="2020-05-18T09:01:36.153" v="961" actId="478"/>
          <ac:spMkLst>
            <pc:docMk/>
            <pc:sldMk cId="3681709291" sldId="2778"/>
            <ac:spMk id="4" creationId="{40205365-EC3D-461B-8419-314431047CC8}"/>
          </ac:spMkLst>
        </pc:spChg>
        <pc:picChg chg="add mod">
          <ac:chgData name="Palzer, Michael" userId="f519b7e4-1dfb-4739-bac6-eec18ac433c0" providerId="ADAL" clId="{FB7191FD-118D-4B5C-8D84-D687A2423CC6}" dt="2020-05-18T09:02:03.793" v="966" actId="1076"/>
          <ac:picMkLst>
            <pc:docMk/>
            <pc:sldMk cId="3681709291" sldId="2778"/>
            <ac:picMk id="5" creationId="{56C45753-0582-4980-8ECE-EFF8879384AF}"/>
          </ac:picMkLst>
        </pc:picChg>
      </pc:sldChg>
      <pc:sldChg chg="add">
        <pc:chgData name="Palzer, Michael" userId="f519b7e4-1dfb-4739-bac6-eec18ac433c0" providerId="ADAL" clId="{FB7191FD-118D-4B5C-8D84-D687A2423CC6}" dt="2020-05-18T08:34:51.631" v="598"/>
        <pc:sldMkLst>
          <pc:docMk/>
          <pc:sldMk cId="1866100388" sldId="2779"/>
        </pc:sldMkLst>
      </pc:sldChg>
      <pc:sldChg chg="addSp delSp modSp add">
        <pc:chgData name="Palzer, Michael" userId="f519b7e4-1dfb-4739-bac6-eec18ac433c0" providerId="ADAL" clId="{FB7191FD-118D-4B5C-8D84-D687A2423CC6}" dt="2020-06-01T09:33:30.585" v="2718" actId="1076"/>
        <pc:sldMkLst>
          <pc:docMk/>
          <pc:sldMk cId="2689573211" sldId="2780"/>
        </pc:sldMkLst>
        <pc:spChg chg="mod">
          <ac:chgData name="Palzer, Michael" userId="f519b7e4-1dfb-4739-bac6-eec18ac433c0" providerId="ADAL" clId="{FB7191FD-118D-4B5C-8D84-D687A2423CC6}" dt="2020-05-18T08:44:24.075" v="939" actId="20577"/>
          <ac:spMkLst>
            <pc:docMk/>
            <pc:sldMk cId="2689573211" sldId="2780"/>
            <ac:spMk id="2" creationId="{73E4A998-7E8F-4C73-B638-2AD602E74401}"/>
          </ac:spMkLst>
        </pc:spChg>
        <pc:spChg chg="del">
          <ac:chgData name="Palzer, Michael" userId="f519b7e4-1dfb-4739-bac6-eec18ac433c0" providerId="ADAL" clId="{FB7191FD-118D-4B5C-8D84-D687A2423CC6}" dt="2020-05-18T08:44:12.532" v="923" actId="478"/>
          <ac:spMkLst>
            <pc:docMk/>
            <pc:sldMk cId="2689573211" sldId="2780"/>
            <ac:spMk id="4" creationId="{40205365-EC3D-461B-8419-314431047CC8}"/>
          </ac:spMkLst>
        </pc:spChg>
        <pc:spChg chg="add mod">
          <ac:chgData name="Palzer, Michael" userId="f519b7e4-1dfb-4739-bac6-eec18ac433c0" providerId="ADAL" clId="{FB7191FD-118D-4B5C-8D84-D687A2423CC6}" dt="2020-06-01T09:33:19.207" v="2716" actId="20577"/>
          <ac:spMkLst>
            <pc:docMk/>
            <pc:sldMk cId="2689573211" sldId="2780"/>
            <ac:spMk id="6" creationId="{99636F38-3981-4D76-B035-A669E6E43192}"/>
          </ac:spMkLst>
        </pc:spChg>
        <pc:picChg chg="add mod">
          <ac:chgData name="Palzer, Michael" userId="f519b7e4-1dfb-4739-bac6-eec18ac433c0" providerId="ADAL" clId="{FB7191FD-118D-4B5C-8D84-D687A2423CC6}" dt="2020-06-01T09:33:30.585" v="2718" actId="1076"/>
          <ac:picMkLst>
            <pc:docMk/>
            <pc:sldMk cId="2689573211" sldId="2780"/>
            <ac:picMk id="5" creationId="{3A307593-8360-4936-8CAB-0525283647B3}"/>
          </ac:picMkLst>
        </pc:picChg>
      </pc:sldChg>
      <pc:sldChg chg="modSp add">
        <pc:chgData name="Palzer, Michael" userId="f519b7e4-1dfb-4739-bac6-eec18ac433c0" providerId="ADAL" clId="{FB7191FD-118D-4B5C-8D84-D687A2423CC6}" dt="2020-05-18T08:36:02.343" v="650" actId="20577"/>
        <pc:sldMkLst>
          <pc:docMk/>
          <pc:sldMk cId="1609171538" sldId="2781"/>
        </pc:sldMkLst>
        <pc:spChg chg="mod">
          <ac:chgData name="Palzer, Michael" userId="f519b7e4-1dfb-4739-bac6-eec18ac433c0" providerId="ADAL" clId="{FB7191FD-118D-4B5C-8D84-D687A2423CC6}" dt="2020-05-18T08:36:02.343" v="650" actId="20577"/>
          <ac:spMkLst>
            <pc:docMk/>
            <pc:sldMk cId="1609171538" sldId="2781"/>
            <ac:spMk id="5" creationId="{86A401B8-939D-478C-9AF6-9C1C517BEDA8}"/>
          </ac:spMkLst>
        </pc:spChg>
      </pc:sldChg>
      <pc:sldChg chg="addSp delSp modSp add ord">
        <pc:chgData name="Palzer, Michael" userId="f519b7e4-1dfb-4739-bac6-eec18ac433c0" providerId="ADAL" clId="{FB7191FD-118D-4B5C-8D84-D687A2423CC6}" dt="2020-06-01T09:28:28.051" v="2439"/>
        <pc:sldMkLst>
          <pc:docMk/>
          <pc:sldMk cId="2113875051" sldId="2782"/>
        </pc:sldMkLst>
        <pc:spChg chg="mod">
          <ac:chgData name="Palzer, Michael" userId="f519b7e4-1dfb-4739-bac6-eec18ac433c0" providerId="ADAL" clId="{FB7191FD-118D-4B5C-8D84-D687A2423CC6}" dt="2020-05-18T08:43:54.244" v="922" actId="20577"/>
          <ac:spMkLst>
            <pc:docMk/>
            <pc:sldMk cId="2113875051" sldId="2782"/>
            <ac:spMk id="2" creationId="{73E4A998-7E8F-4C73-B638-2AD602E74401}"/>
          </ac:spMkLst>
        </pc:spChg>
        <pc:spChg chg="del">
          <ac:chgData name="Palzer, Michael" userId="f519b7e4-1dfb-4739-bac6-eec18ac433c0" providerId="ADAL" clId="{FB7191FD-118D-4B5C-8D84-D687A2423CC6}" dt="2020-05-18T08:42:57.399" v="858" actId="478"/>
          <ac:spMkLst>
            <pc:docMk/>
            <pc:sldMk cId="2113875051" sldId="2782"/>
            <ac:spMk id="4" creationId="{40205365-EC3D-461B-8419-314431047CC8}"/>
          </ac:spMkLst>
        </pc:spChg>
        <pc:picChg chg="add mod">
          <ac:chgData name="Palzer, Michael" userId="f519b7e4-1dfb-4739-bac6-eec18ac433c0" providerId="ADAL" clId="{FB7191FD-118D-4B5C-8D84-D687A2423CC6}" dt="2020-05-18T08:43:07.603" v="864" actId="1076"/>
          <ac:picMkLst>
            <pc:docMk/>
            <pc:sldMk cId="2113875051" sldId="2782"/>
            <ac:picMk id="5" creationId="{8B1C2E8E-7AB0-4823-BDF2-006957E533D6}"/>
          </ac:picMkLst>
        </pc:picChg>
      </pc:sldChg>
      <pc:sldChg chg="modSp add">
        <pc:chgData name="Palzer, Michael" userId="f519b7e4-1dfb-4739-bac6-eec18ac433c0" providerId="ADAL" clId="{FB7191FD-118D-4B5C-8D84-D687A2423CC6}" dt="2020-05-18T08:35:46.248" v="638" actId="20577"/>
        <pc:sldMkLst>
          <pc:docMk/>
          <pc:sldMk cId="3999080687" sldId="2783"/>
        </pc:sldMkLst>
        <pc:spChg chg="mod">
          <ac:chgData name="Palzer, Michael" userId="f519b7e4-1dfb-4739-bac6-eec18ac433c0" providerId="ADAL" clId="{FB7191FD-118D-4B5C-8D84-D687A2423CC6}" dt="2020-05-18T08:35:46.248" v="638" actId="20577"/>
          <ac:spMkLst>
            <pc:docMk/>
            <pc:sldMk cId="3999080687" sldId="2783"/>
            <ac:spMk id="5" creationId="{86A401B8-939D-478C-9AF6-9C1C517BEDA8}"/>
          </ac:spMkLst>
        </pc:spChg>
      </pc:sldChg>
      <pc:sldChg chg="addSp delSp modSp add">
        <pc:chgData name="Palzer, Michael" userId="f519b7e4-1dfb-4739-bac6-eec18ac433c0" providerId="ADAL" clId="{FB7191FD-118D-4B5C-8D84-D687A2423CC6}" dt="2020-05-18T08:40:51.839" v="830" actId="1076"/>
        <pc:sldMkLst>
          <pc:docMk/>
          <pc:sldMk cId="3923518088" sldId="2784"/>
        </pc:sldMkLst>
        <pc:spChg chg="mod">
          <ac:chgData name="Palzer, Michael" userId="f519b7e4-1dfb-4739-bac6-eec18ac433c0" providerId="ADAL" clId="{FB7191FD-118D-4B5C-8D84-D687A2423CC6}" dt="2020-05-18T08:40:48.824" v="829" actId="20577"/>
          <ac:spMkLst>
            <pc:docMk/>
            <pc:sldMk cId="3923518088" sldId="2784"/>
            <ac:spMk id="2" creationId="{73E4A998-7E8F-4C73-B638-2AD602E74401}"/>
          </ac:spMkLst>
        </pc:spChg>
        <pc:spChg chg="del">
          <ac:chgData name="Palzer, Michael" userId="f519b7e4-1dfb-4739-bac6-eec18ac433c0" providerId="ADAL" clId="{FB7191FD-118D-4B5C-8D84-D687A2423CC6}" dt="2020-05-18T08:40:15.623" v="792" actId="478"/>
          <ac:spMkLst>
            <pc:docMk/>
            <pc:sldMk cId="3923518088" sldId="2784"/>
            <ac:spMk id="4" creationId="{40205365-EC3D-461B-8419-314431047CC8}"/>
          </ac:spMkLst>
        </pc:spChg>
        <pc:picChg chg="add mod">
          <ac:chgData name="Palzer, Michael" userId="f519b7e4-1dfb-4739-bac6-eec18ac433c0" providerId="ADAL" clId="{FB7191FD-118D-4B5C-8D84-D687A2423CC6}" dt="2020-05-18T08:40:51.839" v="830" actId="1076"/>
          <ac:picMkLst>
            <pc:docMk/>
            <pc:sldMk cId="3923518088" sldId="2784"/>
            <ac:picMk id="5" creationId="{1EAF2E0D-75B6-4257-9EB9-EDB98C8C7BCE}"/>
          </ac:picMkLst>
        </pc:picChg>
      </pc:sldChg>
      <pc:sldChg chg="addSp delSp modSp add">
        <pc:chgData name="Palzer, Michael" userId="f519b7e4-1dfb-4739-bac6-eec18ac433c0" providerId="ADAL" clId="{FB7191FD-118D-4B5C-8D84-D687A2423CC6}" dt="2020-05-18T08:39:49.771" v="791" actId="20577"/>
        <pc:sldMkLst>
          <pc:docMk/>
          <pc:sldMk cId="729538895" sldId="2786"/>
        </pc:sldMkLst>
        <pc:spChg chg="mod">
          <ac:chgData name="Palzer, Michael" userId="f519b7e4-1dfb-4739-bac6-eec18ac433c0" providerId="ADAL" clId="{FB7191FD-118D-4B5C-8D84-D687A2423CC6}" dt="2020-05-18T08:39:49.771" v="791" actId="20577"/>
          <ac:spMkLst>
            <pc:docMk/>
            <pc:sldMk cId="729538895" sldId="2786"/>
            <ac:spMk id="2" creationId="{73E4A998-7E8F-4C73-B638-2AD602E74401}"/>
          </ac:spMkLst>
        </pc:spChg>
        <pc:picChg chg="add mod">
          <ac:chgData name="Palzer, Michael" userId="f519b7e4-1dfb-4739-bac6-eec18ac433c0" providerId="ADAL" clId="{FB7191FD-118D-4B5C-8D84-D687A2423CC6}" dt="2020-05-18T08:38:38.652" v="717" actId="1076"/>
          <ac:picMkLst>
            <pc:docMk/>
            <pc:sldMk cId="729538895" sldId="2786"/>
            <ac:picMk id="4" creationId="{8E79CC34-10A0-4394-9B99-F1629D912AC3}"/>
          </ac:picMkLst>
        </pc:picChg>
        <pc:picChg chg="del">
          <ac:chgData name="Palzer, Michael" userId="f519b7e4-1dfb-4739-bac6-eec18ac433c0" providerId="ADAL" clId="{FB7191FD-118D-4B5C-8D84-D687A2423CC6}" dt="2020-05-18T08:38:30.150" v="713" actId="478"/>
          <ac:picMkLst>
            <pc:docMk/>
            <pc:sldMk cId="729538895" sldId="2786"/>
            <ac:picMk id="5" creationId="{1B358601-50ED-4CB0-A68A-A30D44D7CE18}"/>
          </ac:picMkLst>
        </pc:picChg>
      </pc:sldChg>
      <pc:sldChg chg="addSp delSp modSp add">
        <pc:chgData name="Palzer, Michael" userId="f519b7e4-1dfb-4739-bac6-eec18ac433c0" providerId="ADAL" clId="{FB7191FD-118D-4B5C-8D84-D687A2423CC6}" dt="2020-05-18T08:42:43.016" v="857" actId="1076"/>
        <pc:sldMkLst>
          <pc:docMk/>
          <pc:sldMk cId="1049215055" sldId="2787"/>
        </pc:sldMkLst>
        <pc:spChg chg="mod">
          <ac:chgData name="Palzer, Michael" userId="f519b7e4-1dfb-4739-bac6-eec18ac433c0" providerId="ADAL" clId="{FB7191FD-118D-4B5C-8D84-D687A2423CC6}" dt="2020-05-18T08:42:17.702" v="852" actId="20577"/>
          <ac:spMkLst>
            <pc:docMk/>
            <pc:sldMk cId="1049215055" sldId="2787"/>
            <ac:spMk id="2" creationId="{73E4A998-7E8F-4C73-B638-2AD602E74401}"/>
          </ac:spMkLst>
        </pc:spChg>
        <pc:picChg chg="add mod">
          <ac:chgData name="Palzer, Michael" userId="f519b7e4-1dfb-4739-bac6-eec18ac433c0" providerId="ADAL" clId="{FB7191FD-118D-4B5C-8D84-D687A2423CC6}" dt="2020-05-18T08:42:36.237" v="853" actId="1076"/>
          <ac:picMkLst>
            <pc:docMk/>
            <pc:sldMk cId="1049215055" sldId="2787"/>
            <ac:picMk id="4" creationId="{9A09C878-3FBA-4C44-ABCD-578648245567}"/>
          </ac:picMkLst>
        </pc:picChg>
        <pc:picChg chg="del">
          <ac:chgData name="Palzer, Michael" userId="f519b7e4-1dfb-4739-bac6-eec18ac433c0" providerId="ADAL" clId="{FB7191FD-118D-4B5C-8D84-D687A2423CC6}" dt="2020-05-18T08:41:59.566" v="832" actId="478"/>
          <ac:picMkLst>
            <pc:docMk/>
            <pc:sldMk cId="1049215055" sldId="2787"/>
            <ac:picMk id="5" creationId="{1EAF2E0D-75B6-4257-9EB9-EDB98C8C7BCE}"/>
          </ac:picMkLst>
        </pc:picChg>
        <pc:picChg chg="add mod">
          <ac:chgData name="Palzer, Michael" userId="f519b7e4-1dfb-4739-bac6-eec18ac433c0" providerId="ADAL" clId="{FB7191FD-118D-4B5C-8D84-D687A2423CC6}" dt="2020-05-18T08:42:43.016" v="857" actId="1076"/>
          <ac:picMkLst>
            <pc:docMk/>
            <pc:sldMk cId="1049215055" sldId="2787"/>
            <ac:picMk id="6" creationId="{C4BB1E5F-91CD-4DFF-B7E9-3E329F970F0B}"/>
          </ac:picMkLst>
        </pc:picChg>
      </pc:sldChg>
      <pc:sldChg chg="addSp delSp modSp add">
        <pc:chgData name="Palzer, Michael" userId="f519b7e4-1dfb-4739-bac6-eec18ac433c0" providerId="ADAL" clId="{FB7191FD-118D-4B5C-8D84-D687A2423CC6}" dt="2020-05-18T09:02:38.625" v="973" actId="14100"/>
        <pc:sldMkLst>
          <pc:docMk/>
          <pc:sldMk cId="3855226611" sldId="2788"/>
        </pc:sldMkLst>
        <pc:picChg chg="add mod">
          <ac:chgData name="Palzer, Michael" userId="f519b7e4-1dfb-4739-bac6-eec18ac433c0" providerId="ADAL" clId="{FB7191FD-118D-4B5C-8D84-D687A2423CC6}" dt="2020-05-18T09:02:38.625" v="973" actId="14100"/>
          <ac:picMkLst>
            <pc:docMk/>
            <pc:sldMk cId="3855226611" sldId="2788"/>
            <ac:picMk id="4" creationId="{4C0DF20C-E56D-4CE5-BF3A-2D9AE853214F}"/>
          </ac:picMkLst>
        </pc:picChg>
        <pc:picChg chg="del">
          <ac:chgData name="Palzer, Michael" userId="f519b7e4-1dfb-4739-bac6-eec18ac433c0" providerId="ADAL" clId="{FB7191FD-118D-4B5C-8D84-D687A2423CC6}" dt="2020-05-18T09:02:14.659" v="968" actId="478"/>
          <ac:picMkLst>
            <pc:docMk/>
            <pc:sldMk cId="3855226611" sldId="2788"/>
            <ac:picMk id="5" creationId="{56C45753-0582-4980-8ECE-EFF8879384AF}"/>
          </ac:picMkLst>
        </pc:picChg>
      </pc:sldChg>
      <pc:sldChg chg="addSp delSp modSp add">
        <pc:chgData name="Palzer, Michael" userId="f519b7e4-1dfb-4739-bac6-eec18ac433c0" providerId="ADAL" clId="{FB7191FD-118D-4B5C-8D84-D687A2423CC6}" dt="2020-05-18T09:03:08.289" v="981" actId="1076"/>
        <pc:sldMkLst>
          <pc:docMk/>
          <pc:sldMk cId="1244644972" sldId="2789"/>
        </pc:sldMkLst>
        <pc:picChg chg="del">
          <ac:chgData name="Palzer, Michael" userId="f519b7e4-1dfb-4739-bac6-eec18ac433c0" providerId="ADAL" clId="{FB7191FD-118D-4B5C-8D84-D687A2423CC6}" dt="2020-05-18T09:02:55.666" v="975" actId="478"/>
          <ac:picMkLst>
            <pc:docMk/>
            <pc:sldMk cId="1244644972" sldId="2789"/>
            <ac:picMk id="4" creationId="{4C0DF20C-E56D-4CE5-BF3A-2D9AE853214F}"/>
          </ac:picMkLst>
        </pc:picChg>
        <pc:picChg chg="add mod">
          <ac:chgData name="Palzer, Michael" userId="f519b7e4-1dfb-4739-bac6-eec18ac433c0" providerId="ADAL" clId="{FB7191FD-118D-4B5C-8D84-D687A2423CC6}" dt="2020-05-18T09:03:08.289" v="981" actId="1076"/>
          <ac:picMkLst>
            <pc:docMk/>
            <pc:sldMk cId="1244644972" sldId="2789"/>
            <ac:picMk id="5" creationId="{B479BA6B-8CE7-4995-B54D-693EFC921035}"/>
          </ac:picMkLst>
        </pc:picChg>
      </pc:sldChg>
      <pc:sldChg chg="addSp delSp modSp add del">
        <pc:chgData name="Palzer, Michael" userId="f519b7e4-1dfb-4739-bac6-eec18ac433c0" providerId="ADAL" clId="{FB7191FD-118D-4B5C-8D84-D687A2423CC6}" dt="2020-05-18T10:21:13.168" v="1008" actId="2696"/>
        <pc:sldMkLst>
          <pc:docMk/>
          <pc:sldMk cId="1249147999" sldId="2790"/>
        </pc:sldMkLst>
        <pc:picChg chg="add mod">
          <ac:chgData name="Palzer, Michael" userId="f519b7e4-1dfb-4739-bac6-eec18ac433c0" providerId="ADAL" clId="{FB7191FD-118D-4B5C-8D84-D687A2423CC6}" dt="2020-05-18T10:20:50.159" v="1006" actId="14100"/>
          <ac:picMkLst>
            <pc:docMk/>
            <pc:sldMk cId="1249147999" sldId="2790"/>
            <ac:picMk id="4" creationId="{EDB93EAE-C0A9-458E-9389-BBBA3859A611}"/>
          </ac:picMkLst>
        </pc:picChg>
        <pc:picChg chg="del">
          <ac:chgData name="Palzer, Michael" userId="f519b7e4-1dfb-4739-bac6-eec18ac433c0" providerId="ADAL" clId="{FB7191FD-118D-4B5C-8D84-D687A2423CC6}" dt="2020-05-18T10:18:25.064" v="983" actId="478"/>
          <ac:picMkLst>
            <pc:docMk/>
            <pc:sldMk cId="1249147999" sldId="2790"/>
            <ac:picMk id="5" creationId="{B479BA6B-8CE7-4995-B54D-693EFC921035}"/>
          </ac:picMkLst>
        </pc:picChg>
      </pc:sldChg>
      <pc:sldChg chg="addSp delSp modSp add">
        <pc:chgData name="Palzer, Michael" userId="f519b7e4-1dfb-4739-bac6-eec18ac433c0" providerId="ADAL" clId="{FB7191FD-118D-4B5C-8D84-D687A2423CC6}" dt="2020-05-18T10:19:48.967" v="996" actId="1076"/>
        <pc:sldMkLst>
          <pc:docMk/>
          <pc:sldMk cId="3006564087" sldId="2791"/>
        </pc:sldMkLst>
        <pc:picChg chg="add mod">
          <ac:chgData name="Palzer, Michael" userId="f519b7e4-1dfb-4739-bac6-eec18ac433c0" providerId="ADAL" clId="{FB7191FD-118D-4B5C-8D84-D687A2423CC6}" dt="2020-05-18T10:19:39.863" v="994" actId="1076"/>
          <ac:picMkLst>
            <pc:docMk/>
            <pc:sldMk cId="3006564087" sldId="2791"/>
            <ac:picMk id="4" creationId="{E4769E91-2C37-4859-9E27-2DBAAACD5952}"/>
          </ac:picMkLst>
        </pc:picChg>
        <pc:picChg chg="del">
          <ac:chgData name="Palzer, Michael" userId="f519b7e4-1dfb-4739-bac6-eec18ac433c0" providerId="ADAL" clId="{FB7191FD-118D-4B5C-8D84-D687A2423CC6}" dt="2020-05-18T10:18:55.421" v="985" actId="478"/>
          <ac:picMkLst>
            <pc:docMk/>
            <pc:sldMk cId="3006564087" sldId="2791"/>
            <ac:picMk id="5" creationId="{4070F2FE-6FBA-46DB-9E4D-A6B228F62DA5}"/>
          </ac:picMkLst>
        </pc:picChg>
        <pc:picChg chg="add mod">
          <ac:chgData name="Palzer, Michael" userId="f519b7e4-1dfb-4739-bac6-eec18ac433c0" providerId="ADAL" clId="{FB7191FD-118D-4B5C-8D84-D687A2423CC6}" dt="2020-05-18T10:19:48.967" v="996" actId="1076"/>
          <ac:picMkLst>
            <pc:docMk/>
            <pc:sldMk cId="3006564087" sldId="2791"/>
            <ac:picMk id="6" creationId="{DAB9C7FB-15DC-4BBC-9944-083E3618D8C3}"/>
          </ac:picMkLst>
        </pc:picChg>
      </pc:sldChg>
      <pc:sldChg chg="addSp delSp modSp add">
        <pc:chgData name="Palzer, Michael" userId="f519b7e4-1dfb-4739-bac6-eec18ac433c0" providerId="ADAL" clId="{FB7191FD-118D-4B5C-8D84-D687A2423CC6}" dt="2020-05-18T10:20:25.182" v="1003" actId="1076"/>
        <pc:sldMkLst>
          <pc:docMk/>
          <pc:sldMk cId="3398298343" sldId="2792"/>
        </pc:sldMkLst>
        <pc:picChg chg="del">
          <ac:chgData name="Palzer, Michael" userId="f519b7e4-1dfb-4739-bac6-eec18ac433c0" providerId="ADAL" clId="{FB7191FD-118D-4B5C-8D84-D687A2423CC6}" dt="2020-05-18T10:20:19.214" v="999" actId="478"/>
          <ac:picMkLst>
            <pc:docMk/>
            <pc:sldMk cId="3398298343" sldId="2792"/>
            <ac:picMk id="4" creationId="{E4769E91-2C37-4859-9E27-2DBAAACD5952}"/>
          </ac:picMkLst>
        </pc:picChg>
        <pc:picChg chg="add mod">
          <ac:chgData name="Palzer, Michael" userId="f519b7e4-1dfb-4739-bac6-eec18ac433c0" providerId="ADAL" clId="{FB7191FD-118D-4B5C-8D84-D687A2423CC6}" dt="2020-05-18T10:20:25.182" v="1003" actId="1076"/>
          <ac:picMkLst>
            <pc:docMk/>
            <pc:sldMk cId="3398298343" sldId="2792"/>
            <ac:picMk id="5" creationId="{11F89C09-05F8-444B-A871-DF4A4A6D80A0}"/>
          </ac:picMkLst>
        </pc:picChg>
        <pc:picChg chg="del">
          <ac:chgData name="Palzer, Michael" userId="f519b7e4-1dfb-4739-bac6-eec18ac433c0" providerId="ADAL" clId="{FB7191FD-118D-4B5C-8D84-D687A2423CC6}" dt="2020-05-18T10:20:18.721" v="998" actId="478"/>
          <ac:picMkLst>
            <pc:docMk/>
            <pc:sldMk cId="3398298343" sldId="2792"/>
            <ac:picMk id="6" creationId="{DAB9C7FB-15DC-4BBC-9944-083E3618D8C3}"/>
          </ac:picMkLst>
        </pc:picChg>
      </pc:sldChg>
      <pc:sldChg chg="addSp delSp modSp add">
        <pc:chgData name="Palzer, Michael" userId="f519b7e4-1dfb-4739-bac6-eec18ac433c0" providerId="ADAL" clId="{FB7191FD-118D-4B5C-8D84-D687A2423CC6}" dt="2020-05-18T10:21:56.798" v="1019" actId="1076"/>
        <pc:sldMkLst>
          <pc:docMk/>
          <pc:sldMk cId="674652355" sldId="2794"/>
        </pc:sldMkLst>
        <pc:picChg chg="add mod">
          <ac:chgData name="Palzer, Michael" userId="f519b7e4-1dfb-4739-bac6-eec18ac433c0" providerId="ADAL" clId="{FB7191FD-118D-4B5C-8D84-D687A2423CC6}" dt="2020-05-18T10:21:56.798" v="1019" actId="1076"/>
          <ac:picMkLst>
            <pc:docMk/>
            <pc:sldMk cId="674652355" sldId="2794"/>
            <ac:picMk id="4" creationId="{CE40614A-8862-4294-8BD3-6D45CCE72473}"/>
          </ac:picMkLst>
        </pc:picChg>
        <pc:picChg chg="del">
          <ac:chgData name="Palzer, Michael" userId="f519b7e4-1dfb-4739-bac6-eec18ac433c0" providerId="ADAL" clId="{FB7191FD-118D-4B5C-8D84-D687A2423CC6}" dt="2020-05-18T10:21:50.753" v="1015" actId="478"/>
          <ac:picMkLst>
            <pc:docMk/>
            <pc:sldMk cId="674652355" sldId="2794"/>
            <ac:picMk id="5" creationId="{7962DFEE-D73B-4C20-A142-9CC7A8987518}"/>
          </ac:picMkLst>
        </pc:picChg>
      </pc:sldChg>
      <pc:sldChg chg="addSp delSp modSp add">
        <pc:chgData name="Palzer, Michael" userId="f519b7e4-1dfb-4739-bac6-eec18ac433c0" providerId="ADAL" clId="{FB7191FD-118D-4B5C-8D84-D687A2423CC6}" dt="2020-05-19T08:41:38.887" v="1046" actId="20577"/>
        <pc:sldMkLst>
          <pc:docMk/>
          <pc:sldMk cId="1397349721" sldId="2796"/>
        </pc:sldMkLst>
        <pc:spChg chg="mod">
          <ac:chgData name="Palzer, Michael" userId="f519b7e4-1dfb-4739-bac6-eec18ac433c0" providerId="ADAL" clId="{FB7191FD-118D-4B5C-8D84-D687A2423CC6}" dt="2020-05-19T08:41:38.887" v="1046" actId="20577"/>
          <ac:spMkLst>
            <pc:docMk/>
            <pc:sldMk cId="1397349721" sldId="2796"/>
            <ac:spMk id="2" creationId="{73E4A998-7E8F-4C73-B638-2AD602E74401}"/>
          </ac:spMkLst>
        </pc:spChg>
        <pc:picChg chg="del">
          <ac:chgData name="Palzer, Michael" userId="f519b7e4-1dfb-4739-bac6-eec18ac433c0" providerId="ADAL" clId="{FB7191FD-118D-4B5C-8D84-D687A2423CC6}" dt="2020-05-19T08:41:26.361" v="1023" actId="478"/>
          <ac:picMkLst>
            <pc:docMk/>
            <pc:sldMk cId="1397349721" sldId="2796"/>
            <ac:picMk id="4" creationId="{CE40614A-8862-4294-8BD3-6D45CCE72473}"/>
          </ac:picMkLst>
        </pc:picChg>
        <pc:picChg chg="add mod">
          <ac:chgData name="Palzer, Michael" userId="f519b7e4-1dfb-4739-bac6-eec18ac433c0" providerId="ADAL" clId="{FB7191FD-118D-4B5C-8D84-D687A2423CC6}" dt="2020-05-19T08:41:31.383" v="1026" actId="1076"/>
          <ac:picMkLst>
            <pc:docMk/>
            <pc:sldMk cId="1397349721" sldId="2796"/>
            <ac:picMk id="5" creationId="{447CAF3A-ACB7-4D0C-9DA7-1C0FD419570A}"/>
          </ac:picMkLst>
        </pc:picChg>
      </pc:sldChg>
      <pc:sldChg chg="addSp delSp modSp add">
        <pc:chgData name="Palzer, Michael" userId="f519b7e4-1dfb-4739-bac6-eec18ac433c0" providerId="ADAL" clId="{FB7191FD-118D-4B5C-8D84-D687A2423CC6}" dt="2020-05-19T08:43:10.487" v="1051" actId="1076"/>
        <pc:sldMkLst>
          <pc:docMk/>
          <pc:sldMk cId="2736845822" sldId="2797"/>
        </pc:sldMkLst>
        <pc:picChg chg="add mod">
          <ac:chgData name="Palzer, Michael" userId="f519b7e4-1dfb-4739-bac6-eec18ac433c0" providerId="ADAL" clId="{FB7191FD-118D-4B5C-8D84-D687A2423CC6}" dt="2020-05-19T08:43:10.487" v="1051" actId="1076"/>
          <ac:picMkLst>
            <pc:docMk/>
            <pc:sldMk cId="2736845822" sldId="2797"/>
            <ac:picMk id="4" creationId="{7B759AF6-93A8-416A-AD68-C2DD711D6A5D}"/>
          </ac:picMkLst>
        </pc:picChg>
        <pc:picChg chg="del">
          <ac:chgData name="Palzer, Michael" userId="f519b7e4-1dfb-4739-bac6-eec18ac433c0" providerId="ADAL" clId="{FB7191FD-118D-4B5C-8D84-D687A2423CC6}" dt="2020-05-19T08:41:44.454" v="1048" actId="478"/>
          <ac:picMkLst>
            <pc:docMk/>
            <pc:sldMk cId="2736845822" sldId="2797"/>
            <ac:picMk id="5" creationId="{447CAF3A-ACB7-4D0C-9DA7-1C0FD419570A}"/>
          </ac:picMkLst>
        </pc:picChg>
      </pc:sldChg>
      <pc:sldChg chg="delSp add">
        <pc:chgData name="Palzer, Michael" userId="f519b7e4-1dfb-4739-bac6-eec18ac433c0" providerId="ADAL" clId="{FB7191FD-118D-4B5C-8D84-D687A2423CC6}" dt="2020-05-19T08:43:15.209" v="1053" actId="478"/>
        <pc:sldMkLst>
          <pc:docMk/>
          <pc:sldMk cId="1873168214" sldId="2798"/>
        </pc:sldMkLst>
        <pc:picChg chg="del">
          <ac:chgData name="Palzer, Michael" userId="f519b7e4-1dfb-4739-bac6-eec18ac433c0" providerId="ADAL" clId="{FB7191FD-118D-4B5C-8D84-D687A2423CC6}" dt="2020-05-19T08:43:15.209" v="1053" actId="478"/>
          <ac:picMkLst>
            <pc:docMk/>
            <pc:sldMk cId="1873168214" sldId="2798"/>
            <ac:picMk id="4" creationId="{7B759AF6-93A8-416A-AD68-C2DD711D6A5D}"/>
          </ac:picMkLst>
        </pc:picChg>
      </pc:sldChg>
      <pc:sldChg chg="add">
        <pc:chgData name="Palzer, Michael" userId="f519b7e4-1dfb-4739-bac6-eec18ac433c0" providerId="ADAL" clId="{FB7191FD-118D-4B5C-8D84-D687A2423CC6}" dt="2020-05-19T08:43:19.760" v="1054"/>
        <pc:sldMkLst>
          <pc:docMk/>
          <pc:sldMk cId="3608451885" sldId="2799"/>
        </pc:sldMkLst>
      </pc:sldChg>
      <pc:sldChg chg="add">
        <pc:chgData name="Palzer, Michael" userId="f519b7e4-1dfb-4739-bac6-eec18ac433c0" providerId="ADAL" clId="{FB7191FD-118D-4B5C-8D84-D687A2423CC6}" dt="2020-05-19T08:43:21.032" v="1055"/>
        <pc:sldMkLst>
          <pc:docMk/>
          <pc:sldMk cId="348509328" sldId="2800"/>
        </pc:sldMkLst>
      </pc:sldChg>
      <pc:sldChg chg="add">
        <pc:chgData name="Palzer, Michael" userId="f519b7e4-1dfb-4739-bac6-eec18ac433c0" providerId="ADAL" clId="{FB7191FD-118D-4B5C-8D84-D687A2423CC6}" dt="2020-05-19T08:43:21.391" v="1056"/>
        <pc:sldMkLst>
          <pc:docMk/>
          <pc:sldMk cId="2512660060" sldId="2801"/>
        </pc:sldMkLst>
      </pc:sldChg>
      <pc:sldChg chg="modSp">
        <pc:chgData name="Palzer, Michael" userId="f519b7e4-1dfb-4739-bac6-eec18ac433c0" providerId="ADAL" clId="{FB7191FD-118D-4B5C-8D84-D687A2423CC6}" dt="2020-06-01T09:28:00.556" v="2438" actId="20577"/>
        <pc:sldMkLst>
          <pc:docMk/>
          <pc:sldMk cId="21851478" sldId="2807"/>
        </pc:sldMkLst>
        <pc:spChg chg="mod">
          <ac:chgData name="Palzer, Michael" userId="f519b7e4-1dfb-4739-bac6-eec18ac433c0" providerId="ADAL" clId="{FB7191FD-118D-4B5C-8D84-D687A2423CC6}" dt="2020-06-01T09:28:00.556" v="2438" actId="20577"/>
          <ac:spMkLst>
            <pc:docMk/>
            <pc:sldMk cId="21851478" sldId="2807"/>
            <ac:spMk id="4" creationId="{D5368553-588F-497D-9E63-FBC8A5A5EBB9}"/>
          </ac:spMkLst>
        </pc:spChg>
      </pc:sldChg>
      <pc:sldChg chg="modSp">
        <pc:chgData name="Palzer, Michael" userId="f519b7e4-1dfb-4739-bac6-eec18ac433c0" providerId="ADAL" clId="{FB7191FD-118D-4B5C-8D84-D687A2423CC6}" dt="2020-06-01T09:16:41.105" v="1817" actId="20577"/>
        <pc:sldMkLst>
          <pc:docMk/>
          <pc:sldMk cId="3918544165" sldId="2812"/>
        </pc:sldMkLst>
        <pc:spChg chg="mod">
          <ac:chgData name="Palzer, Michael" userId="f519b7e4-1dfb-4739-bac6-eec18ac433c0" providerId="ADAL" clId="{FB7191FD-118D-4B5C-8D84-D687A2423CC6}" dt="2020-06-01T09:16:41.105" v="1817" actId="20577"/>
          <ac:spMkLst>
            <pc:docMk/>
            <pc:sldMk cId="3918544165" sldId="2812"/>
            <ac:spMk id="4" creationId="{194D3936-BFED-4541-BA0C-B7D9A696176D}"/>
          </ac:spMkLst>
        </pc:spChg>
      </pc:sldChg>
    </pc:docChg>
  </pc:docChgLst>
  <pc:docChgLst>
    <pc:chgData name="Stapel, Stephan" userId="4830af1d-78b3-4e6c-b8fa-2becfbf25f4c" providerId="ADAL" clId="{A207814F-74B0-4056-A2ED-E73A07B0306C}"/>
    <pc:docChg chg="undo custSel addSld delSld modSld sldOrd">
      <pc:chgData name="Stapel, Stephan" userId="4830af1d-78b3-4e6c-b8fa-2becfbf25f4c" providerId="ADAL" clId="{A207814F-74B0-4056-A2ED-E73A07B0306C}" dt="2020-06-01T16:39:01.540" v="10055" actId="20577"/>
      <pc:docMkLst>
        <pc:docMk/>
      </pc:docMkLst>
      <pc:sldChg chg="modSp add">
        <pc:chgData name="Stapel, Stephan" userId="4830af1d-78b3-4e6c-b8fa-2becfbf25f4c" providerId="ADAL" clId="{A207814F-74B0-4056-A2ED-E73A07B0306C}" dt="2020-05-19T07:58:49.037" v="741"/>
        <pc:sldMkLst>
          <pc:docMk/>
          <pc:sldMk cId="4030836963" sldId="369"/>
        </pc:sldMkLst>
        <pc:spChg chg="mod">
          <ac:chgData name="Stapel, Stephan" userId="4830af1d-78b3-4e6c-b8fa-2becfbf25f4c" providerId="ADAL" clId="{A207814F-74B0-4056-A2ED-E73A07B0306C}" dt="2020-05-19T07:58:42.734" v="738" actId="20577"/>
          <ac:spMkLst>
            <pc:docMk/>
            <pc:sldMk cId="4030836963" sldId="369"/>
            <ac:spMk id="5" creationId="{4DBCDC2B-F34A-493D-9B3A-75EEEBCA2599}"/>
          </ac:spMkLst>
        </pc:spChg>
        <pc:spChg chg="mod">
          <ac:chgData name="Stapel, Stephan" userId="4830af1d-78b3-4e6c-b8fa-2becfbf25f4c" providerId="ADAL" clId="{A207814F-74B0-4056-A2ED-E73A07B0306C}" dt="2020-05-19T07:58:49.037" v="741"/>
          <ac:spMkLst>
            <pc:docMk/>
            <pc:sldMk cId="4030836963" sldId="369"/>
            <ac:spMk id="6" creationId="{5C36A009-20BA-450E-AA52-78A5B1982539}"/>
          </ac:spMkLst>
        </pc:spChg>
      </pc:sldChg>
      <pc:sldChg chg="add">
        <pc:chgData name="Stapel, Stephan" userId="4830af1d-78b3-4e6c-b8fa-2becfbf25f4c" providerId="ADAL" clId="{A207814F-74B0-4056-A2ED-E73A07B0306C}" dt="2020-05-19T07:56:09.298" v="451"/>
        <pc:sldMkLst>
          <pc:docMk/>
          <pc:sldMk cId="3553025172" sldId="381"/>
        </pc:sldMkLst>
      </pc:sldChg>
      <pc:sldChg chg="modSp add">
        <pc:chgData name="Stapel, Stephan" userId="4830af1d-78b3-4e6c-b8fa-2becfbf25f4c" providerId="ADAL" clId="{A207814F-74B0-4056-A2ED-E73A07B0306C}" dt="2020-05-19T07:58:28.165" v="703" actId="20577"/>
        <pc:sldMkLst>
          <pc:docMk/>
          <pc:sldMk cId="180857663" sldId="428"/>
        </pc:sldMkLst>
        <pc:spChg chg="mod">
          <ac:chgData name="Stapel, Stephan" userId="4830af1d-78b3-4e6c-b8fa-2becfbf25f4c" providerId="ADAL" clId="{A207814F-74B0-4056-A2ED-E73A07B0306C}" dt="2020-05-19T07:57:58.068" v="578" actId="20577"/>
          <ac:spMkLst>
            <pc:docMk/>
            <pc:sldMk cId="180857663" sldId="428"/>
            <ac:spMk id="10" creationId="{00000000-0000-0000-0000-000000000000}"/>
          </ac:spMkLst>
        </pc:spChg>
        <pc:spChg chg="mod">
          <ac:chgData name="Stapel, Stephan" userId="4830af1d-78b3-4e6c-b8fa-2becfbf25f4c" providerId="ADAL" clId="{A207814F-74B0-4056-A2ED-E73A07B0306C}" dt="2020-05-19T07:58:28.165" v="703" actId="20577"/>
          <ac:spMkLst>
            <pc:docMk/>
            <pc:sldMk cId="180857663" sldId="428"/>
            <ac:spMk id="11" creationId="{00000000-0000-0000-0000-000000000000}"/>
          </ac:spMkLst>
        </pc:spChg>
      </pc:sldChg>
      <pc:sldChg chg="addSp delSp modSp add">
        <pc:chgData name="Stapel, Stephan" userId="4830af1d-78b3-4e6c-b8fa-2becfbf25f4c" providerId="ADAL" clId="{A207814F-74B0-4056-A2ED-E73A07B0306C}" dt="2020-05-19T07:59:09.924" v="805" actId="20577"/>
        <pc:sldMkLst>
          <pc:docMk/>
          <pc:sldMk cId="1497689578" sldId="429"/>
        </pc:sldMkLst>
        <pc:spChg chg="mod">
          <ac:chgData name="Stapel, Stephan" userId="4830af1d-78b3-4e6c-b8fa-2becfbf25f4c" providerId="ADAL" clId="{A207814F-74B0-4056-A2ED-E73A07B0306C}" dt="2020-05-19T07:59:09.924" v="805" actId="20577"/>
          <ac:spMkLst>
            <pc:docMk/>
            <pc:sldMk cId="1497689578" sldId="429"/>
            <ac:spMk id="5" creationId="{4DBCDC2B-F34A-493D-9B3A-75EEEBCA2599}"/>
          </ac:spMkLst>
        </pc:spChg>
        <pc:spChg chg="mod">
          <ac:chgData name="Stapel, Stephan" userId="4830af1d-78b3-4e6c-b8fa-2becfbf25f4c" providerId="ADAL" clId="{A207814F-74B0-4056-A2ED-E73A07B0306C}" dt="2020-05-19T07:59:03.572" v="772" actId="20577"/>
          <ac:spMkLst>
            <pc:docMk/>
            <pc:sldMk cId="1497689578" sldId="429"/>
            <ac:spMk id="6" creationId="{5C36A009-20BA-450E-AA52-78A5B1982539}"/>
          </ac:spMkLst>
        </pc:spChg>
        <pc:spChg chg="add del">
          <ac:chgData name="Stapel, Stephan" userId="4830af1d-78b3-4e6c-b8fa-2becfbf25f4c" providerId="ADAL" clId="{A207814F-74B0-4056-A2ED-E73A07B0306C}" dt="2020-05-19T07:58:57.965" v="743" actId="478"/>
          <ac:spMkLst>
            <pc:docMk/>
            <pc:sldMk cId="1497689578" sldId="429"/>
            <ac:spMk id="7" creationId="{2E19ED38-3571-43DA-9EE3-8A39A5113F6A}"/>
          </ac:spMkLst>
        </pc:spChg>
      </pc:sldChg>
      <pc:sldChg chg="addSp">
        <pc:chgData name="Stapel, Stephan" userId="4830af1d-78b3-4e6c-b8fa-2becfbf25f4c" providerId="ADAL" clId="{A207814F-74B0-4056-A2ED-E73A07B0306C}" dt="2020-05-19T07:56:31.724" v="454"/>
        <pc:sldMkLst>
          <pc:docMk/>
          <pc:sldMk cId="1561407917" sldId="2761"/>
        </pc:sldMkLst>
        <pc:picChg chg="add">
          <ac:chgData name="Stapel, Stephan" userId="4830af1d-78b3-4e6c-b8fa-2becfbf25f4c" providerId="ADAL" clId="{A207814F-74B0-4056-A2ED-E73A07B0306C}" dt="2020-05-19T07:56:31.724" v="454"/>
          <ac:picMkLst>
            <pc:docMk/>
            <pc:sldMk cId="1561407917" sldId="2761"/>
            <ac:picMk id="4" creationId="{6046399B-FCA5-42EF-BBB8-8818C33BA159}"/>
          </ac:picMkLst>
        </pc:picChg>
      </pc:sldChg>
      <pc:sldChg chg="add">
        <pc:chgData name="Stapel, Stephan" userId="4830af1d-78b3-4e6c-b8fa-2becfbf25f4c" providerId="ADAL" clId="{A207814F-74B0-4056-A2ED-E73A07B0306C}" dt="2020-05-28T22:39:49.644" v="8520"/>
        <pc:sldMkLst>
          <pc:docMk/>
          <pc:sldMk cId="1670867298" sldId="2764"/>
        </pc:sldMkLst>
      </pc:sldChg>
      <pc:sldChg chg="addSp modSp">
        <pc:chgData name="Stapel, Stephan" userId="4830af1d-78b3-4e6c-b8fa-2becfbf25f4c" providerId="ADAL" clId="{A207814F-74B0-4056-A2ED-E73A07B0306C}" dt="2020-05-28T22:43:30.519" v="8729" actId="1076"/>
        <pc:sldMkLst>
          <pc:docMk/>
          <pc:sldMk cId="1786585900" sldId="2767"/>
        </pc:sldMkLst>
        <pc:spChg chg="add mod">
          <ac:chgData name="Stapel, Stephan" userId="4830af1d-78b3-4e6c-b8fa-2becfbf25f4c" providerId="ADAL" clId="{A207814F-74B0-4056-A2ED-E73A07B0306C}" dt="2020-05-28T22:41:57.126" v="8727" actId="1076"/>
          <ac:spMkLst>
            <pc:docMk/>
            <pc:sldMk cId="1786585900" sldId="2767"/>
            <ac:spMk id="5" creationId="{277CF3C5-5A86-4DCA-B3CA-91393AEAC936}"/>
          </ac:spMkLst>
        </pc:spChg>
        <pc:spChg chg="add mod">
          <ac:chgData name="Stapel, Stephan" userId="4830af1d-78b3-4e6c-b8fa-2becfbf25f4c" providerId="ADAL" clId="{A207814F-74B0-4056-A2ED-E73A07B0306C}" dt="2020-05-28T22:43:30.519" v="8729" actId="1076"/>
          <ac:spMkLst>
            <pc:docMk/>
            <pc:sldMk cId="1786585900" sldId="2767"/>
            <ac:spMk id="8" creationId="{A2A0148E-BB7E-4ED8-9A29-71C1331949EB}"/>
          </ac:spMkLst>
        </pc:spChg>
        <pc:cxnChg chg="add mod">
          <ac:chgData name="Stapel, Stephan" userId="4830af1d-78b3-4e6c-b8fa-2becfbf25f4c" providerId="ADAL" clId="{A207814F-74B0-4056-A2ED-E73A07B0306C}" dt="2020-05-28T22:41:37.616" v="8715" actId="1582"/>
          <ac:cxnSpMkLst>
            <pc:docMk/>
            <pc:sldMk cId="1786585900" sldId="2767"/>
            <ac:cxnSpMk id="4" creationId="{33906723-1A80-45AB-BDD5-A9254A2BE0E3}"/>
          </ac:cxnSpMkLst>
        </pc:cxnChg>
        <pc:cxnChg chg="add mod">
          <ac:chgData name="Stapel, Stephan" userId="4830af1d-78b3-4e6c-b8fa-2becfbf25f4c" providerId="ADAL" clId="{A207814F-74B0-4056-A2ED-E73A07B0306C}" dt="2020-05-28T22:43:30.519" v="8729" actId="1076"/>
          <ac:cxnSpMkLst>
            <pc:docMk/>
            <pc:sldMk cId="1786585900" sldId="2767"/>
            <ac:cxnSpMk id="7" creationId="{6A22B9BA-CB2C-4075-A6FF-F5A73B1EC861}"/>
          </ac:cxnSpMkLst>
        </pc:cxnChg>
      </pc:sldChg>
      <pc:sldChg chg="addSp delSp modSp">
        <pc:chgData name="Stapel, Stephan" userId="4830af1d-78b3-4e6c-b8fa-2becfbf25f4c" providerId="ADAL" clId="{A207814F-74B0-4056-A2ED-E73A07B0306C}" dt="2020-06-01T16:38:50.840" v="10050" actId="14100"/>
        <pc:sldMkLst>
          <pc:docMk/>
          <pc:sldMk cId="2704028762" sldId="2769"/>
        </pc:sldMkLst>
        <pc:spChg chg="mod">
          <ac:chgData name="Stapel, Stephan" userId="4830af1d-78b3-4e6c-b8fa-2becfbf25f4c" providerId="ADAL" clId="{A207814F-74B0-4056-A2ED-E73A07B0306C}" dt="2020-05-29T10:27:09.154" v="9955" actId="790"/>
          <ac:spMkLst>
            <pc:docMk/>
            <pc:sldMk cId="2704028762" sldId="2769"/>
            <ac:spMk id="2" creationId="{73E4A998-7E8F-4C73-B638-2AD602E74401}"/>
          </ac:spMkLst>
        </pc:spChg>
        <pc:spChg chg="mod">
          <ac:chgData name="Stapel, Stephan" userId="4830af1d-78b3-4e6c-b8fa-2becfbf25f4c" providerId="ADAL" clId="{A207814F-74B0-4056-A2ED-E73A07B0306C}" dt="2020-05-29T10:27:09.154" v="9955" actId="790"/>
          <ac:spMkLst>
            <pc:docMk/>
            <pc:sldMk cId="2704028762" sldId="2769"/>
            <ac:spMk id="3" creationId="{8B70788E-B6D7-4F4F-8BE4-4747D36CC8BE}"/>
          </ac:spMkLst>
        </pc:spChg>
        <pc:spChg chg="add mod">
          <ac:chgData name="Stapel, Stephan" userId="4830af1d-78b3-4e6c-b8fa-2becfbf25f4c" providerId="ADAL" clId="{A207814F-74B0-4056-A2ED-E73A07B0306C}" dt="2020-06-01T16:38:42.933" v="10046" actId="6549"/>
          <ac:spMkLst>
            <pc:docMk/>
            <pc:sldMk cId="2704028762" sldId="2769"/>
            <ac:spMk id="4" creationId="{AA9A93D3-73F3-4FBA-8A78-B7122772B010}"/>
          </ac:spMkLst>
        </pc:spChg>
        <pc:spChg chg="add mod">
          <ac:chgData name="Stapel, Stephan" userId="4830af1d-78b3-4e6c-b8fa-2becfbf25f4c" providerId="ADAL" clId="{A207814F-74B0-4056-A2ED-E73A07B0306C}" dt="2020-05-29T10:27:09.154" v="9955" actId="790"/>
          <ac:spMkLst>
            <pc:docMk/>
            <pc:sldMk cId="2704028762" sldId="2769"/>
            <ac:spMk id="6" creationId="{052920E4-5FEA-4861-A1FF-0D37739727F0}"/>
          </ac:spMkLst>
        </pc:spChg>
        <pc:picChg chg="add del mod">
          <ac:chgData name="Stapel, Stephan" userId="4830af1d-78b3-4e6c-b8fa-2becfbf25f4c" providerId="ADAL" clId="{A207814F-74B0-4056-A2ED-E73A07B0306C}" dt="2020-06-01T16:38:50.840" v="10050" actId="14100"/>
          <ac:picMkLst>
            <pc:docMk/>
            <pc:sldMk cId="2704028762" sldId="2769"/>
            <ac:picMk id="5" creationId="{D75A33A4-8DA5-47AC-B190-B61622C1B3C8}"/>
          </ac:picMkLst>
        </pc:picChg>
      </pc:sldChg>
      <pc:sldChg chg="addSp delSp modSp">
        <pc:chgData name="Stapel, Stephan" userId="4830af1d-78b3-4e6c-b8fa-2becfbf25f4c" providerId="ADAL" clId="{A207814F-74B0-4056-A2ED-E73A07B0306C}" dt="2020-05-29T10:27:38.580" v="9958" actId="790"/>
        <pc:sldMkLst>
          <pc:docMk/>
          <pc:sldMk cId="1228551679" sldId="2770"/>
        </pc:sldMkLst>
        <pc:spChg chg="mod">
          <ac:chgData name="Stapel, Stephan" userId="4830af1d-78b3-4e6c-b8fa-2becfbf25f4c" providerId="ADAL" clId="{A207814F-74B0-4056-A2ED-E73A07B0306C}" dt="2020-05-29T10:27:38.580" v="9958" actId="790"/>
          <ac:spMkLst>
            <pc:docMk/>
            <pc:sldMk cId="1228551679" sldId="2770"/>
            <ac:spMk id="2" creationId="{73E4A998-7E8F-4C73-B638-2AD602E74401}"/>
          </ac:spMkLst>
        </pc:spChg>
        <pc:spChg chg="mod">
          <ac:chgData name="Stapel, Stephan" userId="4830af1d-78b3-4e6c-b8fa-2becfbf25f4c" providerId="ADAL" clId="{A207814F-74B0-4056-A2ED-E73A07B0306C}" dt="2020-05-29T10:27:38.580" v="9958" actId="790"/>
          <ac:spMkLst>
            <pc:docMk/>
            <pc:sldMk cId="1228551679" sldId="2770"/>
            <ac:spMk id="3" creationId="{8B70788E-B6D7-4F4F-8BE4-4747D36CC8BE}"/>
          </ac:spMkLst>
        </pc:spChg>
        <pc:spChg chg="add mod">
          <ac:chgData name="Stapel, Stephan" userId="4830af1d-78b3-4e6c-b8fa-2becfbf25f4c" providerId="ADAL" clId="{A207814F-74B0-4056-A2ED-E73A07B0306C}" dt="2020-05-29T10:27:38.580" v="9958" actId="790"/>
          <ac:spMkLst>
            <pc:docMk/>
            <pc:sldMk cId="1228551679" sldId="2770"/>
            <ac:spMk id="4" creationId="{2133908C-5D86-4B60-9CC1-C3EC6B471A7E}"/>
          </ac:spMkLst>
        </pc:spChg>
        <pc:spChg chg="add mod">
          <ac:chgData name="Stapel, Stephan" userId="4830af1d-78b3-4e6c-b8fa-2becfbf25f4c" providerId="ADAL" clId="{A207814F-74B0-4056-A2ED-E73A07B0306C}" dt="2020-05-29T10:27:38.580" v="9958" actId="790"/>
          <ac:spMkLst>
            <pc:docMk/>
            <pc:sldMk cId="1228551679" sldId="2770"/>
            <ac:spMk id="6" creationId="{DC04A49D-17B8-4AB5-891D-3E31F85755E8}"/>
          </ac:spMkLst>
        </pc:spChg>
        <pc:spChg chg="add mod">
          <ac:chgData name="Stapel, Stephan" userId="4830af1d-78b3-4e6c-b8fa-2becfbf25f4c" providerId="ADAL" clId="{A207814F-74B0-4056-A2ED-E73A07B0306C}" dt="2020-05-29T10:27:38.580" v="9958" actId="790"/>
          <ac:spMkLst>
            <pc:docMk/>
            <pc:sldMk cId="1228551679" sldId="2770"/>
            <ac:spMk id="7" creationId="{F274681F-E370-4349-8E52-B142BA05F2E5}"/>
          </ac:spMkLst>
        </pc:spChg>
        <pc:spChg chg="add mod">
          <ac:chgData name="Stapel, Stephan" userId="4830af1d-78b3-4e6c-b8fa-2becfbf25f4c" providerId="ADAL" clId="{A207814F-74B0-4056-A2ED-E73A07B0306C}" dt="2020-05-29T10:27:38.580" v="9958" actId="790"/>
          <ac:spMkLst>
            <pc:docMk/>
            <pc:sldMk cId="1228551679" sldId="2770"/>
            <ac:spMk id="8" creationId="{6B17C3B0-FD6D-4B27-84DF-5684C85E01B7}"/>
          </ac:spMkLst>
        </pc:spChg>
        <pc:spChg chg="add mod">
          <ac:chgData name="Stapel, Stephan" userId="4830af1d-78b3-4e6c-b8fa-2becfbf25f4c" providerId="ADAL" clId="{A207814F-74B0-4056-A2ED-E73A07B0306C}" dt="2020-05-29T10:27:38.580" v="9958" actId="790"/>
          <ac:spMkLst>
            <pc:docMk/>
            <pc:sldMk cId="1228551679" sldId="2770"/>
            <ac:spMk id="9" creationId="{82A7C533-2DA1-4CDE-A843-BE3D4F877CC7}"/>
          </ac:spMkLst>
        </pc:spChg>
        <pc:spChg chg="add mod">
          <ac:chgData name="Stapel, Stephan" userId="4830af1d-78b3-4e6c-b8fa-2becfbf25f4c" providerId="ADAL" clId="{A207814F-74B0-4056-A2ED-E73A07B0306C}" dt="2020-05-29T10:27:38.580" v="9958" actId="790"/>
          <ac:spMkLst>
            <pc:docMk/>
            <pc:sldMk cId="1228551679" sldId="2770"/>
            <ac:spMk id="10" creationId="{99B15D4C-020C-4DF2-91B6-5E2D026C2475}"/>
          </ac:spMkLst>
        </pc:spChg>
        <pc:spChg chg="add mod">
          <ac:chgData name="Stapel, Stephan" userId="4830af1d-78b3-4e6c-b8fa-2becfbf25f4c" providerId="ADAL" clId="{A207814F-74B0-4056-A2ED-E73A07B0306C}" dt="2020-05-29T10:27:38.580" v="9958" actId="790"/>
          <ac:spMkLst>
            <pc:docMk/>
            <pc:sldMk cId="1228551679" sldId="2770"/>
            <ac:spMk id="11" creationId="{44420185-05F1-4FF7-8CBB-F1D71484F550}"/>
          </ac:spMkLst>
        </pc:spChg>
        <pc:spChg chg="add mod">
          <ac:chgData name="Stapel, Stephan" userId="4830af1d-78b3-4e6c-b8fa-2becfbf25f4c" providerId="ADAL" clId="{A207814F-74B0-4056-A2ED-E73A07B0306C}" dt="2020-05-29T10:27:38.580" v="9958" actId="790"/>
          <ac:spMkLst>
            <pc:docMk/>
            <pc:sldMk cId="1228551679" sldId="2770"/>
            <ac:spMk id="12" creationId="{71235161-A317-451A-AC61-4457E088D924}"/>
          </ac:spMkLst>
        </pc:spChg>
        <pc:spChg chg="add mod">
          <ac:chgData name="Stapel, Stephan" userId="4830af1d-78b3-4e6c-b8fa-2becfbf25f4c" providerId="ADAL" clId="{A207814F-74B0-4056-A2ED-E73A07B0306C}" dt="2020-05-29T10:27:38.580" v="9958" actId="790"/>
          <ac:spMkLst>
            <pc:docMk/>
            <pc:sldMk cId="1228551679" sldId="2770"/>
            <ac:spMk id="13" creationId="{48403080-354A-4434-8E22-23AFD0D28FA7}"/>
          </ac:spMkLst>
        </pc:spChg>
        <pc:spChg chg="add mod">
          <ac:chgData name="Stapel, Stephan" userId="4830af1d-78b3-4e6c-b8fa-2becfbf25f4c" providerId="ADAL" clId="{A207814F-74B0-4056-A2ED-E73A07B0306C}" dt="2020-05-29T10:27:38.580" v="9958" actId="790"/>
          <ac:spMkLst>
            <pc:docMk/>
            <pc:sldMk cId="1228551679" sldId="2770"/>
            <ac:spMk id="14" creationId="{6216F418-48BF-43F4-B5D1-776F21DC71BA}"/>
          </ac:spMkLst>
        </pc:spChg>
        <pc:spChg chg="add del mod">
          <ac:chgData name="Stapel, Stephan" userId="4830af1d-78b3-4e6c-b8fa-2becfbf25f4c" providerId="ADAL" clId="{A207814F-74B0-4056-A2ED-E73A07B0306C}" dt="2020-05-29T10:27:38.580" v="9958" actId="790"/>
          <ac:spMkLst>
            <pc:docMk/>
            <pc:sldMk cId="1228551679" sldId="2770"/>
            <ac:spMk id="15" creationId="{E58871ED-84AA-4E09-8DBC-1F2EFF9A19EC}"/>
          </ac:spMkLst>
        </pc:spChg>
        <pc:spChg chg="add mod">
          <ac:chgData name="Stapel, Stephan" userId="4830af1d-78b3-4e6c-b8fa-2becfbf25f4c" providerId="ADAL" clId="{A207814F-74B0-4056-A2ED-E73A07B0306C}" dt="2020-05-29T10:27:38.580" v="9958" actId="790"/>
          <ac:spMkLst>
            <pc:docMk/>
            <pc:sldMk cId="1228551679" sldId="2770"/>
            <ac:spMk id="16" creationId="{C08952F2-E8C0-412F-BF75-F58988522EAE}"/>
          </ac:spMkLst>
        </pc:spChg>
        <pc:spChg chg="add mod">
          <ac:chgData name="Stapel, Stephan" userId="4830af1d-78b3-4e6c-b8fa-2becfbf25f4c" providerId="ADAL" clId="{A207814F-74B0-4056-A2ED-E73A07B0306C}" dt="2020-05-29T10:27:38.580" v="9958" actId="790"/>
          <ac:spMkLst>
            <pc:docMk/>
            <pc:sldMk cId="1228551679" sldId="2770"/>
            <ac:spMk id="17" creationId="{6AF8D632-D58C-4B07-9164-CB542E802FBA}"/>
          </ac:spMkLst>
        </pc:spChg>
        <pc:spChg chg="add mod">
          <ac:chgData name="Stapel, Stephan" userId="4830af1d-78b3-4e6c-b8fa-2becfbf25f4c" providerId="ADAL" clId="{A207814F-74B0-4056-A2ED-E73A07B0306C}" dt="2020-05-29T10:27:38.580" v="9958" actId="790"/>
          <ac:spMkLst>
            <pc:docMk/>
            <pc:sldMk cId="1228551679" sldId="2770"/>
            <ac:spMk id="18" creationId="{271EC4DF-F166-4C3D-AA47-1A9B3F2BDC59}"/>
          </ac:spMkLst>
        </pc:spChg>
        <pc:spChg chg="add del mod">
          <ac:chgData name="Stapel, Stephan" userId="4830af1d-78b3-4e6c-b8fa-2becfbf25f4c" providerId="ADAL" clId="{A207814F-74B0-4056-A2ED-E73A07B0306C}" dt="2020-05-29T10:27:38.580" v="9958" actId="790"/>
          <ac:spMkLst>
            <pc:docMk/>
            <pc:sldMk cId="1228551679" sldId="2770"/>
            <ac:spMk id="19" creationId="{268A23D6-EDA5-4ED5-B72E-8E8C3794EAA0}"/>
          </ac:spMkLst>
        </pc:spChg>
        <pc:spChg chg="add mod">
          <ac:chgData name="Stapel, Stephan" userId="4830af1d-78b3-4e6c-b8fa-2becfbf25f4c" providerId="ADAL" clId="{A207814F-74B0-4056-A2ED-E73A07B0306C}" dt="2020-05-29T10:27:38.580" v="9958" actId="790"/>
          <ac:spMkLst>
            <pc:docMk/>
            <pc:sldMk cId="1228551679" sldId="2770"/>
            <ac:spMk id="20" creationId="{FE9B6E88-8FC0-4938-BF6F-B10F5BC78F12}"/>
          </ac:spMkLst>
        </pc:spChg>
        <pc:spChg chg="add mod">
          <ac:chgData name="Stapel, Stephan" userId="4830af1d-78b3-4e6c-b8fa-2becfbf25f4c" providerId="ADAL" clId="{A207814F-74B0-4056-A2ED-E73A07B0306C}" dt="2020-05-29T10:27:38.580" v="9958" actId="790"/>
          <ac:spMkLst>
            <pc:docMk/>
            <pc:sldMk cId="1228551679" sldId="2770"/>
            <ac:spMk id="21" creationId="{C45CA621-C2DD-415D-932D-A7075A451D8C}"/>
          </ac:spMkLst>
        </pc:spChg>
        <pc:spChg chg="add mod">
          <ac:chgData name="Stapel, Stephan" userId="4830af1d-78b3-4e6c-b8fa-2becfbf25f4c" providerId="ADAL" clId="{A207814F-74B0-4056-A2ED-E73A07B0306C}" dt="2020-05-29T10:27:38.580" v="9958" actId="790"/>
          <ac:spMkLst>
            <pc:docMk/>
            <pc:sldMk cId="1228551679" sldId="2770"/>
            <ac:spMk id="22" creationId="{DABD4526-9242-4D69-A171-612FD8D6BBC4}"/>
          </ac:spMkLst>
        </pc:spChg>
        <pc:spChg chg="add mod">
          <ac:chgData name="Stapel, Stephan" userId="4830af1d-78b3-4e6c-b8fa-2becfbf25f4c" providerId="ADAL" clId="{A207814F-74B0-4056-A2ED-E73A07B0306C}" dt="2020-05-29T10:27:38.580" v="9958" actId="790"/>
          <ac:spMkLst>
            <pc:docMk/>
            <pc:sldMk cId="1228551679" sldId="2770"/>
            <ac:spMk id="23" creationId="{DF983445-9CC0-4E8B-A7B5-B8954FAEDAC0}"/>
          </ac:spMkLst>
        </pc:spChg>
        <pc:spChg chg="add mod">
          <ac:chgData name="Stapel, Stephan" userId="4830af1d-78b3-4e6c-b8fa-2becfbf25f4c" providerId="ADAL" clId="{A207814F-74B0-4056-A2ED-E73A07B0306C}" dt="2020-05-29T10:27:38.580" v="9958" actId="790"/>
          <ac:spMkLst>
            <pc:docMk/>
            <pc:sldMk cId="1228551679" sldId="2770"/>
            <ac:spMk id="24" creationId="{68719F33-AAD1-4C98-A94A-2764CB44CCB2}"/>
          </ac:spMkLst>
        </pc:spChg>
        <pc:spChg chg="add mod">
          <ac:chgData name="Stapel, Stephan" userId="4830af1d-78b3-4e6c-b8fa-2becfbf25f4c" providerId="ADAL" clId="{A207814F-74B0-4056-A2ED-E73A07B0306C}" dt="2020-05-29T10:27:38.580" v="9958" actId="790"/>
          <ac:spMkLst>
            <pc:docMk/>
            <pc:sldMk cId="1228551679" sldId="2770"/>
            <ac:spMk id="25" creationId="{0ADE5C69-A06D-415B-BF7F-B42036290D34}"/>
          </ac:spMkLst>
        </pc:spChg>
        <pc:spChg chg="add mod">
          <ac:chgData name="Stapel, Stephan" userId="4830af1d-78b3-4e6c-b8fa-2becfbf25f4c" providerId="ADAL" clId="{A207814F-74B0-4056-A2ED-E73A07B0306C}" dt="2020-05-29T10:27:38.580" v="9958" actId="790"/>
          <ac:spMkLst>
            <pc:docMk/>
            <pc:sldMk cId="1228551679" sldId="2770"/>
            <ac:spMk id="26" creationId="{C299D183-F471-4A5F-98CA-078FCD075A16}"/>
          </ac:spMkLst>
        </pc:spChg>
        <pc:spChg chg="add mod">
          <ac:chgData name="Stapel, Stephan" userId="4830af1d-78b3-4e6c-b8fa-2becfbf25f4c" providerId="ADAL" clId="{A207814F-74B0-4056-A2ED-E73A07B0306C}" dt="2020-05-29T10:27:38.580" v="9958" actId="790"/>
          <ac:spMkLst>
            <pc:docMk/>
            <pc:sldMk cId="1228551679" sldId="2770"/>
            <ac:spMk id="27" creationId="{71D8CF28-B993-4C44-91F2-2EAE826FE025}"/>
          </ac:spMkLst>
        </pc:spChg>
        <pc:spChg chg="add mod">
          <ac:chgData name="Stapel, Stephan" userId="4830af1d-78b3-4e6c-b8fa-2becfbf25f4c" providerId="ADAL" clId="{A207814F-74B0-4056-A2ED-E73A07B0306C}" dt="2020-05-29T10:27:38.580" v="9958" actId="790"/>
          <ac:spMkLst>
            <pc:docMk/>
            <pc:sldMk cId="1228551679" sldId="2770"/>
            <ac:spMk id="28" creationId="{7806280D-4683-47CE-8711-3A47281D3BE6}"/>
          </ac:spMkLst>
        </pc:spChg>
        <pc:picChg chg="del mod">
          <ac:chgData name="Stapel, Stephan" userId="4830af1d-78b3-4e6c-b8fa-2becfbf25f4c" providerId="ADAL" clId="{A207814F-74B0-4056-A2ED-E73A07B0306C}" dt="2020-05-28T20:05:09.170" v="1582" actId="478"/>
          <ac:picMkLst>
            <pc:docMk/>
            <pc:sldMk cId="1228551679" sldId="2770"/>
            <ac:picMk id="5" creationId="{4070F2FE-6FBA-46DB-9E4D-A6B228F62DA5}"/>
          </ac:picMkLst>
        </pc:picChg>
      </pc:sldChg>
      <pc:sldChg chg="addSp">
        <pc:chgData name="Stapel, Stephan" userId="4830af1d-78b3-4e6c-b8fa-2becfbf25f4c" providerId="ADAL" clId="{A207814F-74B0-4056-A2ED-E73A07B0306C}" dt="2020-05-19T07:56:41.690" v="462"/>
        <pc:sldMkLst>
          <pc:docMk/>
          <pc:sldMk cId="3980513081" sldId="2771"/>
        </pc:sldMkLst>
        <pc:picChg chg="add">
          <ac:chgData name="Stapel, Stephan" userId="4830af1d-78b3-4e6c-b8fa-2becfbf25f4c" providerId="ADAL" clId="{A207814F-74B0-4056-A2ED-E73A07B0306C}" dt="2020-05-19T07:56:41.690" v="462"/>
          <ac:picMkLst>
            <pc:docMk/>
            <pc:sldMk cId="3980513081" sldId="2771"/>
            <ac:picMk id="4" creationId="{F44D749D-E23D-4F24-8B1E-E843D78DBFA4}"/>
          </ac:picMkLst>
        </pc:picChg>
      </pc:sldChg>
      <pc:sldChg chg="addSp modSp">
        <pc:chgData name="Stapel, Stephan" userId="4830af1d-78b3-4e6c-b8fa-2becfbf25f4c" providerId="ADAL" clId="{A207814F-74B0-4056-A2ED-E73A07B0306C}" dt="2020-05-28T20:02:51.810" v="1439" actId="20577"/>
        <pc:sldMkLst>
          <pc:docMk/>
          <pc:sldMk cId="3150901493" sldId="2773"/>
        </pc:sldMkLst>
        <pc:spChg chg="mod">
          <ac:chgData name="Stapel, Stephan" userId="4830af1d-78b3-4e6c-b8fa-2becfbf25f4c" providerId="ADAL" clId="{A207814F-74B0-4056-A2ED-E73A07B0306C}" dt="2020-05-28T20:02:51.810" v="1439" actId="20577"/>
          <ac:spMkLst>
            <pc:docMk/>
            <pc:sldMk cId="3150901493" sldId="2773"/>
            <ac:spMk id="5" creationId="{86A401B8-939D-478C-9AF6-9C1C517BEDA8}"/>
          </ac:spMkLst>
        </pc:spChg>
        <pc:picChg chg="add">
          <ac:chgData name="Stapel, Stephan" userId="4830af1d-78b3-4e6c-b8fa-2becfbf25f4c" providerId="ADAL" clId="{A207814F-74B0-4056-A2ED-E73A07B0306C}" dt="2020-05-19T07:56:33.651" v="455"/>
          <ac:picMkLst>
            <pc:docMk/>
            <pc:sldMk cId="3150901493" sldId="2773"/>
            <ac:picMk id="4" creationId="{66CBF19E-FA71-4678-A9FC-B14EE7C9C6F4}"/>
          </ac:picMkLst>
        </pc:picChg>
      </pc:sldChg>
      <pc:sldChg chg="addSp modSp">
        <pc:chgData name="Stapel, Stephan" userId="4830af1d-78b3-4e6c-b8fa-2becfbf25f4c" providerId="ADAL" clId="{A207814F-74B0-4056-A2ED-E73A07B0306C}" dt="2020-05-28T22:07:05.610" v="4556" actId="20577"/>
        <pc:sldMkLst>
          <pc:docMk/>
          <pc:sldMk cId="3563111271" sldId="2775"/>
        </pc:sldMkLst>
        <pc:spChg chg="mod">
          <ac:chgData name="Stapel, Stephan" userId="4830af1d-78b3-4e6c-b8fa-2becfbf25f4c" providerId="ADAL" clId="{A207814F-74B0-4056-A2ED-E73A07B0306C}" dt="2020-05-28T22:07:05.610" v="4556" actId="20577"/>
          <ac:spMkLst>
            <pc:docMk/>
            <pc:sldMk cId="3563111271" sldId="2775"/>
            <ac:spMk id="5" creationId="{86A401B8-939D-478C-9AF6-9C1C517BEDA8}"/>
          </ac:spMkLst>
        </pc:spChg>
        <pc:picChg chg="add">
          <ac:chgData name="Stapel, Stephan" userId="4830af1d-78b3-4e6c-b8fa-2becfbf25f4c" providerId="ADAL" clId="{A207814F-74B0-4056-A2ED-E73A07B0306C}" dt="2020-05-19T07:56:34.085" v="456"/>
          <ac:picMkLst>
            <pc:docMk/>
            <pc:sldMk cId="3563111271" sldId="2775"/>
            <ac:picMk id="4" creationId="{7E71C7F8-BB75-4DED-A0F6-2151A43072B9}"/>
          </ac:picMkLst>
        </pc:picChg>
      </pc:sldChg>
      <pc:sldChg chg="addSp modSp">
        <pc:chgData name="Stapel, Stephan" userId="4830af1d-78b3-4e6c-b8fa-2becfbf25f4c" providerId="ADAL" clId="{A207814F-74B0-4056-A2ED-E73A07B0306C}" dt="2020-05-29T10:27:20.259" v="9956" actId="790"/>
        <pc:sldMkLst>
          <pc:docMk/>
          <pc:sldMk cId="3068561451" sldId="2776"/>
        </pc:sldMkLst>
        <pc:spChg chg="mod">
          <ac:chgData name="Stapel, Stephan" userId="4830af1d-78b3-4e6c-b8fa-2becfbf25f4c" providerId="ADAL" clId="{A207814F-74B0-4056-A2ED-E73A07B0306C}" dt="2020-05-29T10:27:20.259" v="9956" actId="790"/>
          <ac:spMkLst>
            <pc:docMk/>
            <pc:sldMk cId="3068561451" sldId="2776"/>
            <ac:spMk id="5" creationId="{86A401B8-939D-478C-9AF6-9C1C517BEDA8}"/>
          </ac:spMkLst>
        </pc:spChg>
        <pc:picChg chg="add">
          <ac:chgData name="Stapel, Stephan" userId="4830af1d-78b3-4e6c-b8fa-2becfbf25f4c" providerId="ADAL" clId="{A207814F-74B0-4056-A2ED-E73A07B0306C}" dt="2020-05-19T07:56:35.928" v="457"/>
          <ac:picMkLst>
            <pc:docMk/>
            <pc:sldMk cId="3068561451" sldId="2776"/>
            <ac:picMk id="4" creationId="{30EF1516-90FB-4B8A-A3DC-448B4873DA45}"/>
          </ac:picMkLst>
        </pc:picChg>
      </pc:sldChg>
      <pc:sldChg chg="addSp modSp">
        <pc:chgData name="Stapel, Stephan" userId="4830af1d-78b3-4e6c-b8fa-2becfbf25f4c" providerId="ADAL" clId="{A207814F-74B0-4056-A2ED-E73A07B0306C}" dt="2020-05-27T08:11:41.766" v="852" actId="20577"/>
        <pc:sldMkLst>
          <pc:docMk/>
          <pc:sldMk cId="253678474" sldId="2777"/>
        </pc:sldMkLst>
        <pc:spChg chg="mod">
          <ac:chgData name="Stapel, Stephan" userId="4830af1d-78b3-4e6c-b8fa-2becfbf25f4c" providerId="ADAL" clId="{A207814F-74B0-4056-A2ED-E73A07B0306C}" dt="2020-05-27T08:11:41.766" v="852" actId="20577"/>
          <ac:spMkLst>
            <pc:docMk/>
            <pc:sldMk cId="253678474" sldId="2777"/>
            <ac:spMk id="5" creationId="{86A401B8-939D-478C-9AF6-9C1C517BEDA8}"/>
          </ac:spMkLst>
        </pc:spChg>
        <pc:picChg chg="add">
          <ac:chgData name="Stapel, Stephan" userId="4830af1d-78b3-4e6c-b8fa-2becfbf25f4c" providerId="ADAL" clId="{A207814F-74B0-4056-A2ED-E73A07B0306C}" dt="2020-05-19T07:56:40.126" v="461"/>
          <ac:picMkLst>
            <pc:docMk/>
            <pc:sldMk cId="253678474" sldId="2777"/>
            <ac:picMk id="4" creationId="{A579F214-5CA7-4AE8-9D35-01A1CFC37BD7}"/>
          </ac:picMkLst>
        </pc:picChg>
      </pc:sldChg>
      <pc:sldChg chg="modSp">
        <pc:chgData name="Stapel, Stephan" userId="4830af1d-78b3-4e6c-b8fa-2becfbf25f4c" providerId="ADAL" clId="{A207814F-74B0-4056-A2ED-E73A07B0306C}" dt="2020-05-28T22:28:51.496" v="7205" actId="14100"/>
        <pc:sldMkLst>
          <pc:docMk/>
          <pc:sldMk cId="3681709291" sldId="2778"/>
        </pc:sldMkLst>
        <pc:picChg chg="mod">
          <ac:chgData name="Stapel, Stephan" userId="4830af1d-78b3-4e6c-b8fa-2becfbf25f4c" providerId="ADAL" clId="{A207814F-74B0-4056-A2ED-E73A07B0306C}" dt="2020-05-28T22:28:51.496" v="7205" actId="14100"/>
          <ac:picMkLst>
            <pc:docMk/>
            <pc:sldMk cId="3681709291" sldId="2778"/>
            <ac:picMk id="5" creationId="{56C45753-0582-4980-8ECE-EFF8879384AF}"/>
          </ac:picMkLst>
        </pc:picChg>
      </pc:sldChg>
      <pc:sldChg chg="addSp">
        <pc:chgData name="Stapel, Stephan" userId="4830af1d-78b3-4e6c-b8fa-2becfbf25f4c" providerId="ADAL" clId="{A207814F-74B0-4056-A2ED-E73A07B0306C}" dt="2020-05-19T07:56:38.533" v="460"/>
        <pc:sldMkLst>
          <pc:docMk/>
          <pc:sldMk cId="1866100388" sldId="2779"/>
        </pc:sldMkLst>
        <pc:picChg chg="add">
          <ac:chgData name="Stapel, Stephan" userId="4830af1d-78b3-4e6c-b8fa-2becfbf25f4c" providerId="ADAL" clId="{A207814F-74B0-4056-A2ED-E73A07B0306C}" dt="2020-05-19T07:56:38.533" v="460"/>
          <ac:picMkLst>
            <pc:docMk/>
            <pc:sldMk cId="1866100388" sldId="2779"/>
            <ac:picMk id="4" creationId="{84E2E5C1-F55C-46AB-A72E-1335F311B65B}"/>
          </ac:picMkLst>
        </pc:picChg>
      </pc:sldChg>
      <pc:sldChg chg="modSp">
        <pc:chgData name="Stapel, Stephan" userId="4830af1d-78b3-4e6c-b8fa-2becfbf25f4c" providerId="ADAL" clId="{A207814F-74B0-4056-A2ED-E73A07B0306C}" dt="2020-06-01T16:36:59.872" v="10004" actId="20577"/>
        <pc:sldMkLst>
          <pc:docMk/>
          <pc:sldMk cId="2689573211" sldId="2780"/>
        </pc:sldMkLst>
        <pc:spChg chg="mod">
          <ac:chgData name="Stapel, Stephan" userId="4830af1d-78b3-4e6c-b8fa-2becfbf25f4c" providerId="ADAL" clId="{A207814F-74B0-4056-A2ED-E73A07B0306C}" dt="2020-05-29T10:30:58.942" v="9977" actId="790"/>
          <ac:spMkLst>
            <pc:docMk/>
            <pc:sldMk cId="2689573211" sldId="2780"/>
            <ac:spMk id="2" creationId="{73E4A998-7E8F-4C73-B638-2AD602E74401}"/>
          </ac:spMkLst>
        </pc:spChg>
        <pc:spChg chg="mod">
          <ac:chgData name="Stapel, Stephan" userId="4830af1d-78b3-4e6c-b8fa-2becfbf25f4c" providerId="ADAL" clId="{A207814F-74B0-4056-A2ED-E73A07B0306C}" dt="2020-05-29T10:30:58.942" v="9977" actId="790"/>
          <ac:spMkLst>
            <pc:docMk/>
            <pc:sldMk cId="2689573211" sldId="2780"/>
            <ac:spMk id="3" creationId="{8B70788E-B6D7-4F4F-8BE4-4747D36CC8BE}"/>
          </ac:spMkLst>
        </pc:spChg>
        <pc:spChg chg="mod">
          <ac:chgData name="Stapel, Stephan" userId="4830af1d-78b3-4e6c-b8fa-2becfbf25f4c" providerId="ADAL" clId="{A207814F-74B0-4056-A2ED-E73A07B0306C}" dt="2020-06-01T16:36:59.872" v="10004" actId="20577"/>
          <ac:spMkLst>
            <pc:docMk/>
            <pc:sldMk cId="2689573211" sldId="2780"/>
            <ac:spMk id="6" creationId="{99636F38-3981-4D76-B035-A669E6E43192}"/>
          </ac:spMkLst>
        </pc:spChg>
      </pc:sldChg>
      <pc:sldChg chg="addSp modSp">
        <pc:chgData name="Stapel, Stephan" userId="4830af1d-78b3-4e6c-b8fa-2becfbf25f4c" providerId="ADAL" clId="{A207814F-74B0-4056-A2ED-E73A07B0306C}" dt="2020-05-29T10:30:26.537" v="9974" actId="790"/>
        <pc:sldMkLst>
          <pc:docMk/>
          <pc:sldMk cId="1609171538" sldId="2781"/>
        </pc:sldMkLst>
        <pc:spChg chg="mod">
          <ac:chgData name="Stapel, Stephan" userId="4830af1d-78b3-4e6c-b8fa-2becfbf25f4c" providerId="ADAL" clId="{A207814F-74B0-4056-A2ED-E73A07B0306C}" dt="2020-05-29T10:30:26.537" v="9974" actId="790"/>
          <ac:spMkLst>
            <pc:docMk/>
            <pc:sldMk cId="1609171538" sldId="2781"/>
            <ac:spMk id="3" creationId="{274D31B0-500D-4F51-9489-284C1D712D23}"/>
          </ac:spMkLst>
        </pc:spChg>
        <pc:spChg chg="mod">
          <ac:chgData name="Stapel, Stephan" userId="4830af1d-78b3-4e6c-b8fa-2becfbf25f4c" providerId="ADAL" clId="{A207814F-74B0-4056-A2ED-E73A07B0306C}" dt="2020-05-29T10:30:26.537" v="9974" actId="790"/>
          <ac:spMkLst>
            <pc:docMk/>
            <pc:sldMk cId="1609171538" sldId="2781"/>
            <ac:spMk id="5" creationId="{86A401B8-939D-478C-9AF6-9C1C517BEDA8}"/>
          </ac:spMkLst>
        </pc:spChg>
        <pc:picChg chg="add">
          <ac:chgData name="Stapel, Stephan" userId="4830af1d-78b3-4e6c-b8fa-2becfbf25f4c" providerId="ADAL" clId="{A207814F-74B0-4056-A2ED-E73A07B0306C}" dt="2020-05-19T07:56:38.090" v="459"/>
          <ac:picMkLst>
            <pc:docMk/>
            <pc:sldMk cId="1609171538" sldId="2781"/>
            <ac:picMk id="4" creationId="{2E1FE123-F806-4D38-BBD4-07A0E105AEBA}"/>
          </ac:picMkLst>
        </pc:picChg>
      </pc:sldChg>
      <pc:sldChg chg="modSp">
        <pc:chgData name="Stapel, Stephan" userId="4830af1d-78b3-4e6c-b8fa-2becfbf25f4c" providerId="ADAL" clId="{A207814F-74B0-4056-A2ED-E73A07B0306C}" dt="2020-05-29T10:30:34.916" v="9975" actId="790"/>
        <pc:sldMkLst>
          <pc:docMk/>
          <pc:sldMk cId="2113875051" sldId="2782"/>
        </pc:sldMkLst>
        <pc:spChg chg="mod">
          <ac:chgData name="Stapel, Stephan" userId="4830af1d-78b3-4e6c-b8fa-2becfbf25f4c" providerId="ADAL" clId="{A207814F-74B0-4056-A2ED-E73A07B0306C}" dt="2020-05-29T10:30:34.916" v="9975" actId="790"/>
          <ac:spMkLst>
            <pc:docMk/>
            <pc:sldMk cId="2113875051" sldId="2782"/>
            <ac:spMk id="2" creationId="{73E4A998-7E8F-4C73-B638-2AD602E74401}"/>
          </ac:spMkLst>
        </pc:spChg>
        <pc:spChg chg="mod">
          <ac:chgData name="Stapel, Stephan" userId="4830af1d-78b3-4e6c-b8fa-2becfbf25f4c" providerId="ADAL" clId="{A207814F-74B0-4056-A2ED-E73A07B0306C}" dt="2020-05-29T10:30:34.916" v="9975" actId="790"/>
          <ac:spMkLst>
            <pc:docMk/>
            <pc:sldMk cId="2113875051" sldId="2782"/>
            <ac:spMk id="3" creationId="{8B70788E-B6D7-4F4F-8BE4-4747D36CC8BE}"/>
          </ac:spMkLst>
        </pc:spChg>
      </pc:sldChg>
      <pc:sldChg chg="addSp modSp">
        <pc:chgData name="Stapel, Stephan" userId="4830af1d-78b3-4e6c-b8fa-2becfbf25f4c" providerId="ADAL" clId="{A207814F-74B0-4056-A2ED-E73A07B0306C}" dt="2020-05-29T10:28:33.080" v="9963" actId="790"/>
        <pc:sldMkLst>
          <pc:docMk/>
          <pc:sldMk cId="3999080687" sldId="2783"/>
        </pc:sldMkLst>
        <pc:spChg chg="mod">
          <ac:chgData name="Stapel, Stephan" userId="4830af1d-78b3-4e6c-b8fa-2becfbf25f4c" providerId="ADAL" clId="{A207814F-74B0-4056-A2ED-E73A07B0306C}" dt="2020-05-29T10:28:33.080" v="9963" actId="790"/>
          <ac:spMkLst>
            <pc:docMk/>
            <pc:sldMk cId="3999080687" sldId="2783"/>
            <ac:spMk id="3" creationId="{274D31B0-500D-4F51-9489-284C1D712D23}"/>
          </ac:spMkLst>
        </pc:spChg>
        <pc:spChg chg="mod">
          <ac:chgData name="Stapel, Stephan" userId="4830af1d-78b3-4e6c-b8fa-2becfbf25f4c" providerId="ADAL" clId="{A207814F-74B0-4056-A2ED-E73A07B0306C}" dt="2020-05-29T10:28:33.080" v="9963" actId="790"/>
          <ac:spMkLst>
            <pc:docMk/>
            <pc:sldMk cId="3999080687" sldId="2783"/>
            <ac:spMk id="5" creationId="{86A401B8-939D-478C-9AF6-9C1C517BEDA8}"/>
          </ac:spMkLst>
        </pc:spChg>
        <pc:picChg chg="add">
          <ac:chgData name="Stapel, Stephan" userId="4830af1d-78b3-4e6c-b8fa-2becfbf25f4c" providerId="ADAL" clId="{A207814F-74B0-4056-A2ED-E73A07B0306C}" dt="2020-05-19T07:56:36.386" v="458"/>
          <ac:picMkLst>
            <pc:docMk/>
            <pc:sldMk cId="3999080687" sldId="2783"/>
            <ac:picMk id="4" creationId="{2735F753-A4C4-4FD3-BFDE-23F85583237F}"/>
          </ac:picMkLst>
        </pc:picChg>
      </pc:sldChg>
      <pc:sldChg chg="addSp modSp ord">
        <pc:chgData name="Stapel, Stephan" userId="4830af1d-78b3-4e6c-b8fa-2becfbf25f4c" providerId="ADAL" clId="{A207814F-74B0-4056-A2ED-E73A07B0306C}" dt="2020-05-29T10:29:24.481" v="9968" actId="790"/>
        <pc:sldMkLst>
          <pc:docMk/>
          <pc:sldMk cId="3923518088" sldId="2784"/>
        </pc:sldMkLst>
        <pc:spChg chg="mod">
          <ac:chgData name="Stapel, Stephan" userId="4830af1d-78b3-4e6c-b8fa-2becfbf25f4c" providerId="ADAL" clId="{A207814F-74B0-4056-A2ED-E73A07B0306C}" dt="2020-05-29T10:29:24.481" v="9968" actId="790"/>
          <ac:spMkLst>
            <pc:docMk/>
            <pc:sldMk cId="3923518088" sldId="2784"/>
            <ac:spMk id="2" creationId="{73E4A998-7E8F-4C73-B638-2AD602E74401}"/>
          </ac:spMkLst>
        </pc:spChg>
        <pc:spChg chg="mod">
          <ac:chgData name="Stapel, Stephan" userId="4830af1d-78b3-4e6c-b8fa-2becfbf25f4c" providerId="ADAL" clId="{A207814F-74B0-4056-A2ED-E73A07B0306C}" dt="2020-05-29T10:29:24.481" v="9968" actId="790"/>
          <ac:spMkLst>
            <pc:docMk/>
            <pc:sldMk cId="3923518088" sldId="2784"/>
            <ac:spMk id="3" creationId="{8B70788E-B6D7-4F4F-8BE4-4747D36CC8BE}"/>
          </ac:spMkLst>
        </pc:spChg>
        <pc:spChg chg="add mod">
          <ac:chgData name="Stapel, Stephan" userId="4830af1d-78b3-4e6c-b8fa-2becfbf25f4c" providerId="ADAL" clId="{A207814F-74B0-4056-A2ED-E73A07B0306C}" dt="2020-05-29T10:29:24.481" v="9968" actId="790"/>
          <ac:spMkLst>
            <pc:docMk/>
            <pc:sldMk cId="3923518088" sldId="2784"/>
            <ac:spMk id="6" creationId="{3E59665C-73B6-4FA2-8D83-0A1F2CE5BC70}"/>
          </ac:spMkLst>
        </pc:spChg>
        <pc:picChg chg="mod">
          <ac:chgData name="Stapel, Stephan" userId="4830af1d-78b3-4e6c-b8fa-2becfbf25f4c" providerId="ADAL" clId="{A207814F-74B0-4056-A2ED-E73A07B0306C}" dt="2020-05-28T22:17:34.675" v="5749" actId="1076"/>
          <ac:picMkLst>
            <pc:docMk/>
            <pc:sldMk cId="3923518088" sldId="2784"/>
            <ac:picMk id="5" creationId="{1EAF2E0D-75B6-4257-9EB9-EDB98C8C7BCE}"/>
          </ac:picMkLst>
        </pc:picChg>
      </pc:sldChg>
      <pc:sldChg chg="modSp">
        <pc:chgData name="Stapel, Stephan" userId="4830af1d-78b3-4e6c-b8fa-2becfbf25f4c" providerId="ADAL" clId="{A207814F-74B0-4056-A2ED-E73A07B0306C}" dt="2020-05-29T10:29:59.610" v="9971" actId="790"/>
        <pc:sldMkLst>
          <pc:docMk/>
          <pc:sldMk cId="729538895" sldId="2786"/>
        </pc:sldMkLst>
        <pc:spChg chg="mod">
          <ac:chgData name="Stapel, Stephan" userId="4830af1d-78b3-4e6c-b8fa-2becfbf25f4c" providerId="ADAL" clId="{A207814F-74B0-4056-A2ED-E73A07B0306C}" dt="2020-05-29T10:29:59.610" v="9971" actId="790"/>
          <ac:spMkLst>
            <pc:docMk/>
            <pc:sldMk cId="729538895" sldId="2786"/>
            <ac:spMk id="2" creationId="{73E4A998-7E8F-4C73-B638-2AD602E74401}"/>
          </ac:spMkLst>
        </pc:spChg>
        <pc:spChg chg="mod">
          <ac:chgData name="Stapel, Stephan" userId="4830af1d-78b3-4e6c-b8fa-2becfbf25f4c" providerId="ADAL" clId="{A207814F-74B0-4056-A2ED-E73A07B0306C}" dt="2020-05-29T10:29:59.610" v="9971" actId="790"/>
          <ac:spMkLst>
            <pc:docMk/>
            <pc:sldMk cId="729538895" sldId="2786"/>
            <ac:spMk id="3" creationId="{8B70788E-B6D7-4F4F-8BE4-4747D36CC8BE}"/>
          </ac:spMkLst>
        </pc:spChg>
      </pc:sldChg>
      <pc:sldChg chg="modSp">
        <pc:chgData name="Stapel, Stephan" userId="4830af1d-78b3-4e6c-b8fa-2becfbf25f4c" providerId="ADAL" clId="{A207814F-74B0-4056-A2ED-E73A07B0306C}" dt="2020-05-29T10:30:07.489" v="9972" actId="790"/>
        <pc:sldMkLst>
          <pc:docMk/>
          <pc:sldMk cId="1049215055" sldId="2787"/>
        </pc:sldMkLst>
        <pc:spChg chg="mod">
          <ac:chgData name="Stapel, Stephan" userId="4830af1d-78b3-4e6c-b8fa-2becfbf25f4c" providerId="ADAL" clId="{A207814F-74B0-4056-A2ED-E73A07B0306C}" dt="2020-05-29T10:30:07.489" v="9972" actId="790"/>
          <ac:spMkLst>
            <pc:docMk/>
            <pc:sldMk cId="1049215055" sldId="2787"/>
            <ac:spMk id="2" creationId="{73E4A998-7E8F-4C73-B638-2AD602E74401}"/>
          </ac:spMkLst>
        </pc:spChg>
        <pc:spChg chg="mod">
          <ac:chgData name="Stapel, Stephan" userId="4830af1d-78b3-4e6c-b8fa-2becfbf25f4c" providerId="ADAL" clId="{A207814F-74B0-4056-A2ED-E73A07B0306C}" dt="2020-05-29T10:30:07.489" v="9972" actId="790"/>
          <ac:spMkLst>
            <pc:docMk/>
            <pc:sldMk cId="1049215055" sldId="2787"/>
            <ac:spMk id="3" creationId="{8B70788E-B6D7-4F4F-8BE4-4747D36CC8BE}"/>
          </ac:spMkLst>
        </pc:spChg>
      </pc:sldChg>
      <pc:sldChg chg="addSp modSp">
        <pc:chgData name="Stapel, Stephan" userId="4830af1d-78b3-4e6c-b8fa-2becfbf25f4c" providerId="ADAL" clId="{A207814F-74B0-4056-A2ED-E73A07B0306C}" dt="2020-05-29T10:31:11.098" v="9978" actId="790"/>
        <pc:sldMkLst>
          <pc:docMk/>
          <pc:sldMk cId="1249147999" sldId="2790"/>
        </pc:sldMkLst>
        <pc:spChg chg="mod">
          <ac:chgData name="Stapel, Stephan" userId="4830af1d-78b3-4e6c-b8fa-2becfbf25f4c" providerId="ADAL" clId="{A207814F-74B0-4056-A2ED-E73A07B0306C}" dt="2020-05-29T10:31:11.098" v="9978" actId="790"/>
          <ac:spMkLst>
            <pc:docMk/>
            <pc:sldMk cId="1249147999" sldId="2790"/>
            <ac:spMk id="2" creationId="{73E4A998-7E8F-4C73-B638-2AD602E74401}"/>
          </ac:spMkLst>
        </pc:spChg>
        <pc:spChg chg="mod">
          <ac:chgData name="Stapel, Stephan" userId="4830af1d-78b3-4e6c-b8fa-2becfbf25f4c" providerId="ADAL" clId="{A207814F-74B0-4056-A2ED-E73A07B0306C}" dt="2020-05-29T10:31:11.098" v="9978" actId="790"/>
          <ac:spMkLst>
            <pc:docMk/>
            <pc:sldMk cId="1249147999" sldId="2790"/>
            <ac:spMk id="3" creationId="{8B70788E-B6D7-4F4F-8BE4-4747D36CC8BE}"/>
          </ac:spMkLst>
        </pc:spChg>
        <pc:spChg chg="add mod">
          <ac:chgData name="Stapel, Stephan" userId="4830af1d-78b3-4e6c-b8fa-2becfbf25f4c" providerId="ADAL" clId="{A207814F-74B0-4056-A2ED-E73A07B0306C}" dt="2020-05-29T10:31:11.098" v="9978" actId="790"/>
          <ac:spMkLst>
            <pc:docMk/>
            <pc:sldMk cId="1249147999" sldId="2790"/>
            <ac:spMk id="5" creationId="{1F160B5E-D354-48F8-8892-2FCE958A8BE1}"/>
          </ac:spMkLst>
        </pc:spChg>
        <pc:spChg chg="add mod">
          <ac:chgData name="Stapel, Stephan" userId="4830af1d-78b3-4e6c-b8fa-2becfbf25f4c" providerId="ADAL" clId="{A207814F-74B0-4056-A2ED-E73A07B0306C}" dt="2020-05-29T10:31:11.098" v="9978" actId="790"/>
          <ac:spMkLst>
            <pc:docMk/>
            <pc:sldMk cId="1249147999" sldId="2790"/>
            <ac:spMk id="7" creationId="{4418F5AA-CB33-4BEC-878A-AC38B9445CCB}"/>
          </ac:spMkLst>
        </pc:spChg>
        <pc:picChg chg="mod">
          <ac:chgData name="Stapel, Stephan" userId="4830af1d-78b3-4e6c-b8fa-2becfbf25f4c" providerId="ADAL" clId="{A207814F-74B0-4056-A2ED-E73A07B0306C}" dt="2020-05-28T22:19:31.932" v="6014" actId="208"/>
          <ac:picMkLst>
            <pc:docMk/>
            <pc:sldMk cId="1249147999" sldId="2790"/>
            <ac:picMk id="4" creationId="{EDB93EAE-C0A9-458E-9389-BBBA3859A611}"/>
          </ac:picMkLst>
        </pc:picChg>
        <pc:picChg chg="add mod">
          <ac:chgData name="Stapel, Stephan" userId="4830af1d-78b3-4e6c-b8fa-2becfbf25f4c" providerId="ADAL" clId="{A207814F-74B0-4056-A2ED-E73A07B0306C}" dt="2020-05-28T22:29:04.989" v="7212" actId="1076"/>
          <ac:picMkLst>
            <pc:docMk/>
            <pc:sldMk cId="1249147999" sldId="2790"/>
            <ac:picMk id="6" creationId="{8F455950-24E3-4BB1-99D0-C5C0C9C815B2}"/>
          </ac:picMkLst>
        </pc:picChg>
      </pc:sldChg>
      <pc:sldChg chg="addSp delSp modSp">
        <pc:chgData name="Stapel, Stephan" userId="4830af1d-78b3-4e6c-b8fa-2becfbf25f4c" providerId="ADAL" clId="{A207814F-74B0-4056-A2ED-E73A07B0306C}" dt="2020-05-29T10:28:00.177" v="9960" actId="790"/>
        <pc:sldMkLst>
          <pc:docMk/>
          <pc:sldMk cId="3006564087" sldId="2791"/>
        </pc:sldMkLst>
        <pc:spChg chg="mod">
          <ac:chgData name="Stapel, Stephan" userId="4830af1d-78b3-4e6c-b8fa-2becfbf25f4c" providerId="ADAL" clId="{A207814F-74B0-4056-A2ED-E73A07B0306C}" dt="2020-05-29T10:28:00.177" v="9960" actId="790"/>
          <ac:spMkLst>
            <pc:docMk/>
            <pc:sldMk cId="3006564087" sldId="2791"/>
            <ac:spMk id="2" creationId="{73E4A998-7E8F-4C73-B638-2AD602E74401}"/>
          </ac:spMkLst>
        </pc:spChg>
        <pc:spChg chg="mod">
          <ac:chgData name="Stapel, Stephan" userId="4830af1d-78b3-4e6c-b8fa-2becfbf25f4c" providerId="ADAL" clId="{A207814F-74B0-4056-A2ED-E73A07B0306C}" dt="2020-05-29T10:28:00.177" v="9960" actId="790"/>
          <ac:spMkLst>
            <pc:docMk/>
            <pc:sldMk cId="3006564087" sldId="2791"/>
            <ac:spMk id="3" creationId="{8B70788E-B6D7-4F4F-8BE4-4747D36CC8BE}"/>
          </ac:spMkLst>
        </pc:spChg>
        <pc:spChg chg="add mod">
          <ac:chgData name="Stapel, Stephan" userId="4830af1d-78b3-4e6c-b8fa-2becfbf25f4c" providerId="ADAL" clId="{A207814F-74B0-4056-A2ED-E73A07B0306C}" dt="2020-05-29T10:28:00.177" v="9960" actId="790"/>
          <ac:spMkLst>
            <pc:docMk/>
            <pc:sldMk cId="3006564087" sldId="2791"/>
            <ac:spMk id="5" creationId="{7FB66692-C510-47D8-9323-098C2E1AA07E}"/>
          </ac:spMkLst>
        </pc:spChg>
        <pc:spChg chg="add mod">
          <ac:chgData name="Stapel, Stephan" userId="4830af1d-78b3-4e6c-b8fa-2becfbf25f4c" providerId="ADAL" clId="{A207814F-74B0-4056-A2ED-E73A07B0306C}" dt="2020-05-29T10:28:00.177" v="9960" actId="790"/>
          <ac:spMkLst>
            <pc:docMk/>
            <pc:sldMk cId="3006564087" sldId="2791"/>
            <ac:spMk id="7" creationId="{7705C9C0-2F33-4AA9-B94D-10237032753B}"/>
          </ac:spMkLst>
        </pc:spChg>
        <pc:spChg chg="add mod">
          <ac:chgData name="Stapel, Stephan" userId="4830af1d-78b3-4e6c-b8fa-2becfbf25f4c" providerId="ADAL" clId="{A207814F-74B0-4056-A2ED-E73A07B0306C}" dt="2020-05-29T10:28:00.177" v="9960" actId="790"/>
          <ac:spMkLst>
            <pc:docMk/>
            <pc:sldMk cId="3006564087" sldId="2791"/>
            <ac:spMk id="8" creationId="{00AAA7D4-7F30-4F7E-93AD-E29983620743}"/>
          </ac:spMkLst>
        </pc:spChg>
        <pc:spChg chg="add mod">
          <ac:chgData name="Stapel, Stephan" userId="4830af1d-78b3-4e6c-b8fa-2becfbf25f4c" providerId="ADAL" clId="{A207814F-74B0-4056-A2ED-E73A07B0306C}" dt="2020-05-29T10:28:00.177" v="9960" actId="790"/>
          <ac:spMkLst>
            <pc:docMk/>
            <pc:sldMk cId="3006564087" sldId="2791"/>
            <ac:spMk id="9" creationId="{485304C4-CA6A-4CE0-9D3C-751250515E5C}"/>
          </ac:spMkLst>
        </pc:spChg>
        <pc:spChg chg="add mod">
          <ac:chgData name="Stapel, Stephan" userId="4830af1d-78b3-4e6c-b8fa-2becfbf25f4c" providerId="ADAL" clId="{A207814F-74B0-4056-A2ED-E73A07B0306C}" dt="2020-05-29T10:28:00.177" v="9960" actId="790"/>
          <ac:spMkLst>
            <pc:docMk/>
            <pc:sldMk cId="3006564087" sldId="2791"/>
            <ac:spMk id="10" creationId="{16B5F6A5-3232-4801-80D8-49D67DFE1EE6}"/>
          </ac:spMkLst>
        </pc:spChg>
        <pc:spChg chg="add mod">
          <ac:chgData name="Stapel, Stephan" userId="4830af1d-78b3-4e6c-b8fa-2becfbf25f4c" providerId="ADAL" clId="{A207814F-74B0-4056-A2ED-E73A07B0306C}" dt="2020-05-29T10:28:00.177" v="9960" actId="790"/>
          <ac:spMkLst>
            <pc:docMk/>
            <pc:sldMk cId="3006564087" sldId="2791"/>
            <ac:spMk id="11" creationId="{8F160DAA-F038-4E60-9685-A6F919E712BA}"/>
          </ac:spMkLst>
        </pc:spChg>
        <pc:spChg chg="add mod">
          <ac:chgData name="Stapel, Stephan" userId="4830af1d-78b3-4e6c-b8fa-2becfbf25f4c" providerId="ADAL" clId="{A207814F-74B0-4056-A2ED-E73A07B0306C}" dt="2020-05-29T10:28:00.177" v="9960" actId="790"/>
          <ac:spMkLst>
            <pc:docMk/>
            <pc:sldMk cId="3006564087" sldId="2791"/>
            <ac:spMk id="12" creationId="{AA0BD78E-4C04-4216-977E-61028CC363C7}"/>
          </ac:spMkLst>
        </pc:spChg>
        <pc:spChg chg="add mod">
          <ac:chgData name="Stapel, Stephan" userId="4830af1d-78b3-4e6c-b8fa-2becfbf25f4c" providerId="ADAL" clId="{A207814F-74B0-4056-A2ED-E73A07B0306C}" dt="2020-05-29T10:28:00.177" v="9960" actId="790"/>
          <ac:spMkLst>
            <pc:docMk/>
            <pc:sldMk cId="3006564087" sldId="2791"/>
            <ac:spMk id="13" creationId="{0D74FD27-1A85-4FC6-AF4D-F0D38733EB0D}"/>
          </ac:spMkLst>
        </pc:spChg>
        <pc:spChg chg="add mod">
          <ac:chgData name="Stapel, Stephan" userId="4830af1d-78b3-4e6c-b8fa-2becfbf25f4c" providerId="ADAL" clId="{A207814F-74B0-4056-A2ED-E73A07B0306C}" dt="2020-05-29T10:28:00.177" v="9960" actId="790"/>
          <ac:spMkLst>
            <pc:docMk/>
            <pc:sldMk cId="3006564087" sldId="2791"/>
            <ac:spMk id="14" creationId="{B311453F-C592-46E4-AB06-CC4DFC2FDE66}"/>
          </ac:spMkLst>
        </pc:spChg>
        <pc:spChg chg="add mod">
          <ac:chgData name="Stapel, Stephan" userId="4830af1d-78b3-4e6c-b8fa-2becfbf25f4c" providerId="ADAL" clId="{A207814F-74B0-4056-A2ED-E73A07B0306C}" dt="2020-05-29T10:28:00.177" v="9960" actId="790"/>
          <ac:spMkLst>
            <pc:docMk/>
            <pc:sldMk cId="3006564087" sldId="2791"/>
            <ac:spMk id="15" creationId="{3380C03E-F369-46E9-A9C6-864408F2557A}"/>
          </ac:spMkLst>
        </pc:spChg>
        <pc:spChg chg="add mod">
          <ac:chgData name="Stapel, Stephan" userId="4830af1d-78b3-4e6c-b8fa-2becfbf25f4c" providerId="ADAL" clId="{A207814F-74B0-4056-A2ED-E73A07B0306C}" dt="2020-05-29T10:28:00.177" v="9960" actId="790"/>
          <ac:spMkLst>
            <pc:docMk/>
            <pc:sldMk cId="3006564087" sldId="2791"/>
            <ac:spMk id="16" creationId="{333A8429-AB99-4456-B7B7-7B822B0526E2}"/>
          </ac:spMkLst>
        </pc:spChg>
        <pc:spChg chg="add mod">
          <ac:chgData name="Stapel, Stephan" userId="4830af1d-78b3-4e6c-b8fa-2becfbf25f4c" providerId="ADAL" clId="{A207814F-74B0-4056-A2ED-E73A07B0306C}" dt="2020-05-29T10:28:00.177" v="9960" actId="790"/>
          <ac:spMkLst>
            <pc:docMk/>
            <pc:sldMk cId="3006564087" sldId="2791"/>
            <ac:spMk id="17" creationId="{41546CE3-9896-4B92-9B53-183DC2FA6F71}"/>
          </ac:spMkLst>
        </pc:spChg>
        <pc:spChg chg="add mod">
          <ac:chgData name="Stapel, Stephan" userId="4830af1d-78b3-4e6c-b8fa-2becfbf25f4c" providerId="ADAL" clId="{A207814F-74B0-4056-A2ED-E73A07B0306C}" dt="2020-05-29T10:28:00.177" v="9960" actId="790"/>
          <ac:spMkLst>
            <pc:docMk/>
            <pc:sldMk cId="3006564087" sldId="2791"/>
            <ac:spMk id="18" creationId="{EAE0E2E2-E3A4-49D0-BB78-6954BFCC7BB9}"/>
          </ac:spMkLst>
        </pc:spChg>
        <pc:spChg chg="add mod">
          <ac:chgData name="Stapel, Stephan" userId="4830af1d-78b3-4e6c-b8fa-2becfbf25f4c" providerId="ADAL" clId="{A207814F-74B0-4056-A2ED-E73A07B0306C}" dt="2020-05-29T10:28:00.177" v="9960" actId="790"/>
          <ac:spMkLst>
            <pc:docMk/>
            <pc:sldMk cId="3006564087" sldId="2791"/>
            <ac:spMk id="19" creationId="{29319A95-A713-4CC6-8280-8EA64A56DBDB}"/>
          </ac:spMkLst>
        </pc:spChg>
        <pc:spChg chg="add mod">
          <ac:chgData name="Stapel, Stephan" userId="4830af1d-78b3-4e6c-b8fa-2becfbf25f4c" providerId="ADAL" clId="{A207814F-74B0-4056-A2ED-E73A07B0306C}" dt="2020-05-29T10:28:00.177" v="9960" actId="790"/>
          <ac:spMkLst>
            <pc:docMk/>
            <pc:sldMk cId="3006564087" sldId="2791"/>
            <ac:spMk id="20" creationId="{DE70EEF3-0026-4B27-88A9-3739877ABFB0}"/>
          </ac:spMkLst>
        </pc:spChg>
        <pc:spChg chg="add mod">
          <ac:chgData name="Stapel, Stephan" userId="4830af1d-78b3-4e6c-b8fa-2becfbf25f4c" providerId="ADAL" clId="{A207814F-74B0-4056-A2ED-E73A07B0306C}" dt="2020-05-29T10:28:00.177" v="9960" actId="790"/>
          <ac:spMkLst>
            <pc:docMk/>
            <pc:sldMk cId="3006564087" sldId="2791"/>
            <ac:spMk id="21" creationId="{A58769BA-6B3D-4C50-AB7B-364852B42F4F}"/>
          </ac:spMkLst>
        </pc:spChg>
        <pc:spChg chg="add mod">
          <ac:chgData name="Stapel, Stephan" userId="4830af1d-78b3-4e6c-b8fa-2becfbf25f4c" providerId="ADAL" clId="{A207814F-74B0-4056-A2ED-E73A07B0306C}" dt="2020-05-29T10:28:00.177" v="9960" actId="790"/>
          <ac:spMkLst>
            <pc:docMk/>
            <pc:sldMk cId="3006564087" sldId="2791"/>
            <ac:spMk id="22" creationId="{3FB02495-0B24-42DD-A632-E316EA4E2975}"/>
          </ac:spMkLst>
        </pc:spChg>
        <pc:spChg chg="add mod">
          <ac:chgData name="Stapel, Stephan" userId="4830af1d-78b3-4e6c-b8fa-2becfbf25f4c" providerId="ADAL" clId="{A207814F-74B0-4056-A2ED-E73A07B0306C}" dt="2020-05-29T10:28:00.177" v="9960" actId="790"/>
          <ac:spMkLst>
            <pc:docMk/>
            <pc:sldMk cId="3006564087" sldId="2791"/>
            <ac:spMk id="23" creationId="{96FA92DD-3C07-460F-9E03-1C9EB7F53358}"/>
          </ac:spMkLst>
        </pc:spChg>
        <pc:spChg chg="add mod">
          <ac:chgData name="Stapel, Stephan" userId="4830af1d-78b3-4e6c-b8fa-2becfbf25f4c" providerId="ADAL" clId="{A207814F-74B0-4056-A2ED-E73A07B0306C}" dt="2020-05-29T10:28:00.177" v="9960" actId="790"/>
          <ac:spMkLst>
            <pc:docMk/>
            <pc:sldMk cId="3006564087" sldId="2791"/>
            <ac:spMk id="24" creationId="{D1F337EC-45B2-4D20-806B-6D4854DDB96D}"/>
          </ac:spMkLst>
        </pc:spChg>
        <pc:spChg chg="add mod">
          <ac:chgData name="Stapel, Stephan" userId="4830af1d-78b3-4e6c-b8fa-2becfbf25f4c" providerId="ADAL" clId="{A207814F-74B0-4056-A2ED-E73A07B0306C}" dt="2020-05-29T10:28:00.177" v="9960" actId="790"/>
          <ac:spMkLst>
            <pc:docMk/>
            <pc:sldMk cId="3006564087" sldId="2791"/>
            <ac:spMk id="25" creationId="{90CC8D58-1DC6-4B2C-8563-83F5A2BD658C}"/>
          </ac:spMkLst>
        </pc:spChg>
        <pc:spChg chg="add mod">
          <ac:chgData name="Stapel, Stephan" userId="4830af1d-78b3-4e6c-b8fa-2becfbf25f4c" providerId="ADAL" clId="{A207814F-74B0-4056-A2ED-E73A07B0306C}" dt="2020-05-29T10:28:00.177" v="9960" actId="790"/>
          <ac:spMkLst>
            <pc:docMk/>
            <pc:sldMk cId="3006564087" sldId="2791"/>
            <ac:spMk id="26" creationId="{8A8651CD-3724-4422-9B7B-8B68C4CD5488}"/>
          </ac:spMkLst>
        </pc:spChg>
        <pc:spChg chg="add mod">
          <ac:chgData name="Stapel, Stephan" userId="4830af1d-78b3-4e6c-b8fa-2becfbf25f4c" providerId="ADAL" clId="{A207814F-74B0-4056-A2ED-E73A07B0306C}" dt="2020-05-29T10:28:00.177" v="9960" actId="790"/>
          <ac:spMkLst>
            <pc:docMk/>
            <pc:sldMk cId="3006564087" sldId="2791"/>
            <ac:spMk id="27" creationId="{E5F78844-8199-456D-96AA-6CF6453F57EC}"/>
          </ac:spMkLst>
        </pc:spChg>
        <pc:spChg chg="add mod">
          <ac:chgData name="Stapel, Stephan" userId="4830af1d-78b3-4e6c-b8fa-2becfbf25f4c" providerId="ADAL" clId="{A207814F-74B0-4056-A2ED-E73A07B0306C}" dt="2020-05-29T10:28:00.177" v="9960" actId="790"/>
          <ac:spMkLst>
            <pc:docMk/>
            <pc:sldMk cId="3006564087" sldId="2791"/>
            <ac:spMk id="28" creationId="{4975E0F5-BF7E-4CD6-B359-269EA3F076FC}"/>
          </ac:spMkLst>
        </pc:spChg>
        <pc:spChg chg="add mod">
          <ac:chgData name="Stapel, Stephan" userId="4830af1d-78b3-4e6c-b8fa-2becfbf25f4c" providerId="ADAL" clId="{A207814F-74B0-4056-A2ED-E73A07B0306C}" dt="2020-05-29T10:28:00.177" v="9960" actId="790"/>
          <ac:spMkLst>
            <pc:docMk/>
            <pc:sldMk cId="3006564087" sldId="2791"/>
            <ac:spMk id="29" creationId="{FCEE24BF-A46B-4BF8-B25D-7644E328FF90}"/>
          </ac:spMkLst>
        </pc:spChg>
        <pc:picChg chg="del">
          <ac:chgData name="Stapel, Stephan" userId="4830af1d-78b3-4e6c-b8fa-2becfbf25f4c" providerId="ADAL" clId="{A207814F-74B0-4056-A2ED-E73A07B0306C}" dt="2020-05-28T20:11:36.665" v="2094" actId="478"/>
          <ac:picMkLst>
            <pc:docMk/>
            <pc:sldMk cId="3006564087" sldId="2791"/>
            <ac:picMk id="4" creationId="{E4769E91-2C37-4859-9E27-2DBAAACD5952}"/>
          </ac:picMkLst>
        </pc:picChg>
        <pc:picChg chg="mod">
          <ac:chgData name="Stapel, Stephan" userId="4830af1d-78b3-4e6c-b8fa-2becfbf25f4c" providerId="ADAL" clId="{A207814F-74B0-4056-A2ED-E73A07B0306C}" dt="2020-05-28T20:13:31.452" v="2339" actId="208"/>
          <ac:picMkLst>
            <pc:docMk/>
            <pc:sldMk cId="3006564087" sldId="2791"/>
            <ac:picMk id="6" creationId="{DAB9C7FB-15DC-4BBC-9944-083E3618D8C3}"/>
          </ac:picMkLst>
        </pc:picChg>
      </pc:sldChg>
      <pc:sldChg chg="addSp delSp modSp">
        <pc:chgData name="Stapel, Stephan" userId="4830af1d-78b3-4e6c-b8fa-2becfbf25f4c" providerId="ADAL" clId="{A207814F-74B0-4056-A2ED-E73A07B0306C}" dt="2020-05-29T10:28:21.962" v="9962" actId="790"/>
        <pc:sldMkLst>
          <pc:docMk/>
          <pc:sldMk cId="3398298343" sldId="2792"/>
        </pc:sldMkLst>
        <pc:spChg chg="mod">
          <ac:chgData name="Stapel, Stephan" userId="4830af1d-78b3-4e6c-b8fa-2becfbf25f4c" providerId="ADAL" clId="{A207814F-74B0-4056-A2ED-E73A07B0306C}" dt="2020-05-29T10:28:21.962" v="9962" actId="790"/>
          <ac:spMkLst>
            <pc:docMk/>
            <pc:sldMk cId="3398298343" sldId="2792"/>
            <ac:spMk id="2" creationId="{73E4A998-7E8F-4C73-B638-2AD602E74401}"/>
          </ac:spMkLst>
        </pc:spChg>
        <pc:spChg chg="mod">
          <ac:chgData name="Stapel, Stephan" userId="4830af1d-78b3-4e6c-b8fa-2becfbf25f4c" providerId="ADAL" clId="{A207814F-74B0-4056-A2ED-E73A07B0306C}" dt="2020-05-29T10:28:21.962" v="9962" actId="790"/>
          <ac:spMkLst>
            <pc:docMk/>
            <pc:sldMk cId="3398298343" sldId="2792"/>
            <ac:spMk id="3" creationId="{8B70788E-B6D7-4F4F-8BE4-4747D36CC8BE}"/>
          </ac:spMkLst>
        </pc:spChg>
        <pc:spChg chg="add mod">
          <ac:chgData name="Stapel, Stephan" userId="4830af1d-78b3-4e6c-b8fa-2becfbf25f4c" providerId="ADAL" clId="{A207814F-74B0-4056-A2ED-E73A07B0306C}" dt="2020-05-29T10:28:21.962" v="9962" actId="790"/>
          <ac:spMkLst>
            <pc:docMk/>
            <pc:sldMk cId="3398298343" sldId="2792"/>
            <ac:spMk id="4" creationId="{C805E3D1-E0DF-4872-A66E-C5CB77FE9C04}"/>
          </ac:spMkLst>
        </pc:spChg>
        <pc:picChg chg="del mod">
          <ac:chgData name="Stapel, Stephan" userId="4830af1d-78b3-4e6c-b8fa-2becfbf25f4c" providerId="ADAL" clId="{A207814F-74B0-4056-A2ED-E73A07B0306C}" dt="2020-05-28T22:37:53.631" v="8214"/>
          <ac:picMkLst>
            <pc:docMk/>
            <pc:sldMk cId="3398298343" sldId="2792"/>
            <ac:picMk id="5" creationId="{11F89C09-05F8-444B-A871-DF4A4A6D80A0}"/>
          </ac:picMkLst>
        </pc:picChg>
      </pc:sldChg>
      <pc:sldChg chg="addSp modSp">
        <pc:chgData name="Stapel, Stephan" userId="4830af1d-78b3-4e6c-b8fa-2becfbf25f4c" providerId="ADAL" clId="{A207814F-74B0-4056-A2ED-E73A07B0306C}" dt="2020-05-29T10:31:21.942" v="9979" actId="790"/>
        <pc:sldMkLst>
          <pc:docMk/>
          <pc:sldMk cId="674652355" sldId="2794"/>
        </pc:sldMkLst>
        <pc:spChg chg="mod">
          <ac:chgData name="Stapel, Stephan" userId="4830af1d-78b3-4e6c-b8fa-2becfbf25f4c" providerId="ADAL" clId="{A207814F-74B0-4056-A2ED-E73A07B0306C}" dt="2020-05-29T10:31:21.942" v="9979" actId="790"/>
          <ac:spMkLst>
            <pc:docMk/>
            <pc:sldMk cId="674652355" sldId="2794"/>
            <ac:spMk id="2" creationId="{73E4A998-7E8F-4C73-B638-2AD602E74401}"/>
          </ac:spMkLst>
        </pc:spChg>
        <pc:spChg chg="mod">
          <ac:chgData name="Stapel, Stephan" userId="4830af1d-78b3-4e6c-b8fa-2becfbf25f4c" providerId="ADAL" clId="{A207814F-74B0-4056-A2ED-E73A07B0306C}" dt="2020-05-29T10:31:21.942" v="9979" actId="790"/>
          <ac:spMkLst>
            <pc:docMk/>
            <pc:sldMk cId="674652355" sldId="2794"/>
            <ac:spMk id="3" creationId="{8B70788E-B6D7-4F4F-8BE4-4747D36CC8BE}"/>
          </ac:spMkLst>
        </pc:spChg>
        <pc:spChg chg="add mod">
          <ac:chgData name="Stapel, Stephan" userId="4830af1d-78b3-4e6c-b8fa-2becfbf25f4c" providerId="ADAL" clId="{A207814F-74B0-4056-A2ED-E73A07B0306C}" dt="2020-05-29T10:31:21.942" v="9979" actId="790"/>
          <ac:spMkLst>
            <pc:docMk/>
            <pc:sldMk cId="674652355" sldId="2794"/>
            <ac:spMk id="5" creationId="{4CA2D85A-4E70-40C3-8DF8-AF13506771AF}"/>
          </ac:spMkLst>
        </pc:spChg>
        <pc:spChg chg="add mod">
          <ac:chgData name="Stapel, Stephan" userId="4830af1d-78b3-4e6c-b8fa-2becfbf25f4c" providerId="ADAL" clId="{A207814F-74B0-4056-A2ED-E73A07B0306C}" dt="2020-05-29T10:31:21.942" v="9979" actId="790"/>
          <ac:spMkLst>
            <pc:docMk/>
            <pc:sldMk cId="674652355" sldId="2794"/>
            <ac:spMk id="6" creationId="{4AA6DC00-2919-472E-BB60-98969C3528F2}"/>
          </ac:spMkLst>
        </pc:spChg>
        <pc:picChg chg="mod">
          <ac:chgData name="Stapel, Stephan" userId="4830af1d-78b3-4e6c-b8fa-2becfbf25f4c" providerId="ADAL" clId="{A207814F-74B0-4056-A2ED-E73A07B0306C}" dt="2020-05-28T22:22:19.989" v="6422" actId="688"/>
          <ac:picMkLst>
            <pc:docMk/>
            <pc:sldMk cId="674652355" sldId="2794"/>
            <ac:picMk id="4" creationId="{CE40614A-8862-4294-8BD3-6D45CCE72473}"/>
          </ac:picMkLst>
        </pc:picChg>
      </pc:sldChg>
      <pc:sldChg chg="modSp add">
        <pc:chgData name="Stapel, Stephan" userId="4830af1d-78b3-4e6c-b8fa-2becfbf25f4c" providerId="ADAL" clId="{A207814F-74B0-4056-A2ED-E73A07B0306C}" dt="2020-05-19T07:55:24.941" v="450" actId="20577"/>
        <pc:sldMkLst>
          <pc:docMk/>
          <pc:sldMk cId="1248502525" sldId="2795"/>
        </pc:sldMkLst>
        <pc:spChg chg="mod">
          <ac:chgData name="Stapel, Stephan" userId="4830af1d-78b3-4e6c-b8fa-2becfbf25f4c" providerId="ADAL" clId="{A207814F-74B0-4056-A2ED-E73A07B0306C}" dt="2020-05-19T07:54:02.788" v="15" actId="20577"/>
          <ac:spMkLst>
            <pc:docMk/>
            <pc:sldMk cId="1248502525" sldId="2795"/>
            <ac:spMk id="2" creationId="{EBC35127-098B-4356-819E-FEF73E9AE422}"/>
          </ac:spMkLst>
        </pc:spChg>
        <pc:spChg chg="mod">
          <ac:chgData name="Stapel, Stephan" userId="4830af1d-78b3-4e6c-b8fa-2becfbf25f4c" providerId="ADAL" clId="{A207814F-74B0-4056-A2ED-E73A07B0306C}" dt="2020-05-19T07:55:24.941" v="450" actId="20577"/>
          <ac:spMkLst>
            <pc:docMk/>
            <pc:sldMk cId="1248502525" sldId="2795"/>
            <ac:spMk id="4" creationId="{3C702660-BB21-4904-9C84-C053D2686C1C}"/>
          </ac:spMkLst>
        </pc:spChg>
      </pc:sldChg>
      <pc:sldChg chg="modSp">
        <pc:chgData name="Stapel, Stephan" userId="4830af1d-78b3-4e6c-b8fa-2becfbf25f4c" providerId="ADAL" clId="{A207814F-74B0-4056-A2ED-E73A07B0306C}" dt="2020-05-28T22:27:31.311" v="7204" actId="20577"/>
        <pc:sldMkLst>
          <pc:docMk/>
          <pc:sldMk cId="1397349721" sldId="2796"/>
        </pc:sldMkLst>
        <pc:spChg chg="mod">
          <ac:chgData name="Stapel, Stephan" userId="4830af1d-78b3-4e6c-b8fa-2becfbf25f4c" providerId="ADAL" clId="{A207814F-74B0-4056-A2ED-E73A07B0306C}" dt="2020-05-28T22:27:31.311" v="7204" actId="20577"/>
          <ac:spMkLst>
            <pc:docMk/>
            <pc:sldMk cId="1397349721" sldId="2796"/>
            <ac:spMk id="2" creationId="{73E4A998-7E8F-4C73-B638-2AD602E74401}"/>
          </ac:spMkLst>
        </pc:spChg>
      </pc:sldChg>
      <pc:sldChg chg="modSp ord">
        <pc:chgData name="Stapel, Stephan" userId="4830af1d-78b3-4e6c-b8fa-2becfbf25f4c" providerId="ADAL" clId="{A207814F-74B0-4056-A2ED-E73A07B0306C}" dt="2020-05-28T22:27:28.397" v="7199"/>
        <pc:sldMkLst>
          <pc:docMk/>
          <pc:sldMk cId="2736845822" sldId="2797"/>
        </pc:sldMkLst>
        <pc:spChg chg="mod">
          <ac:chgData name="Stapel, Stephan" userId="4830af1d-78b3-4e6c-b8fa-2becfbf25f4c" providerId="ADAL" clId="{A207814F-74B0-4056-A2ED-E73A07B0306C}" dt="2020-05-28T22:27:20.407" v="7197" actId="20577"/>
          <ac:spMkLst>
            <pc:docMk/>
            <pc:sldMk cId="2736845822" sldId="2797"/>
            <ac:spMk id="2" creationId="{73E4A998-7E8F-4C73-B638-2AD602E74401}"/>
          </ac:spMkLst>
        </pc:spChg>
      </pc:sldChg>
      <pc:sldChg chg="addSp modSp">
        <pc:chgData name="Stapel, Stephan" userId="4830af1d-78b3-4e6c-b8fa-2becfbf25f4c" providerId="ADAL" clId="{A207814F-74B0-4056-A2ED-E73A07B0306C}" dt="2020-05-29T10:31:38.577" v="9980" actId="790"/>
        <pc:sldMkLst>
          <pc:docMk/>
          <pc:sldMk cId="1873168214" sldId="2798"/>
        </pc:sldMkLst>
        <pc:spChg chg="mod">
          <ac:chgData name="Stapel, Stephan" userId="4830af1d-78b3-4e6c-b8fa-2becfbf25f4c" providerId="ADAL" clId="{A207814F-74B0-4056-A2ED-E73A07B0306C}" dt="2020-05-29T10:31:38.577" v="9980" actId="790"/>
          <ac:spMkLst>
            <pc:docMk/>
            <pc:sldMk cId="1873168214" sldId="2798"/>
            <ac:spMk id="2" creationId="{73E4A998-7E8F-4C73-B638-2AD602E74401}"/>
          </ac:spMkLst>
        </pc:spChg>
        <pc:spChg chg="mod">
          <ac:chgData name="Stapel, Stephan" userId="4830af1d-78b3-4e6c-b8fa-2becfbf25f4c" providerId="ADAL" clId="{A207814F-74B0-4056-A2ED-E73A07B0306C}" dt="2020-05-29T10:31:38.577" v="9980" actId="790"/>
          <ac:spMkLst>
            <pc:docMk/>
            <pc:sldMk cId="1873168214" sldId="2798"/>
            <ac:spMk id="3" creationId="{8B70788E-B6D7-4F4F-8BE4-4747D36CC8BE}"/>
          </ac:spMkLst>
        </pc:spChg>
        <pc:spChg chg="add mod">
          <ac:chgData name="Stapel, Stephan" userId="4830af1d-78b3-4e6c-b8fa-2becfbf25f4c" providerId="ADAL" clId="{A207814F-74B0-4056-A2ED-E73A07B0306C}" dt="2020-05-29T10:31:38.577" v="9980" actId="790"/>
          <ac:spMkLst>
            <pc:docMk/>
            <pc:sldMk cId="1873168214" sldId="2798"/>
            <ac:spMk id="4" creationId="{1999AABB-833E-4FFF-8330-4C348EE5759B}"/>
          </ac:spMkLst>
        </pc:spChg>
      </pc:sldChg>
      <pc:sldChg chg="addSp delSp modSp add">
        <pc:chgData name="Stapel, Stephan" userId="4830af1d-78b3-4e6c-b8fa-2becfbf25f4c" providerId="ADAL" clId="{A207814F-74B0-4056-A2ED-E73A07B0306C}" dt="2020-05-29T10:27:28.732" v="9957" actId="790"/>
        <pc:sldMkLst>
          <pc:docMk/>
          <pc:sldMk cId="4252373871" sldId="2802"/>
        </pc:sldMkLst>
        <pc:spChg chg="del">
          <ac:chgData name="Stapel, Stephan" userId="4830af1d-78b3-4e6c-b8fa-2becfbf25f4c" providerId="ADAL" clId="{A207814F-74B0-4056-A2ED-E73A07B0306C}" dt="2020-05-27T08:18:45.701" v="854"/>
          <ac:spMkLst>
            <pc:docMk/>
            <pc:sldMk cId="4252373871" sldId="2802"/>
            <ac:spMk id="2" creationId="{2D81841C-4DDB-4B87-8558-E1FEDA308042}"/>
          </ac:spMkLst>
        </pc:spChg>
        <pc:spChg chg="mod">
          <ac:chgData name="Stapel, Stephan" userId="4830af1d-78b3-4e6c-b8fa-2becfbf25f4c" providerId="ADAL" clId="{A207814F-74B0-4056-A2ED-E73A07B0306C}" dt="2020-05-29T10:27:28.732" v="9957" actId="790"/>
          <ac:spMkLst>
            <pc:docMk/>
            <pc:sldMk cId="4252373871" sldId="2802"/>
            <ac:spMk id="3" creationId="{872DE765-A733-42FF-A8E0-7F04D8514319}"/>
          </ac:spMkLst>
        </pc:spChg>
        <pc:spChg chg="del">
          <ac:chgData name="Stapel, Stephan" userId="4830af1d-78b3-4e6c-b8fa-2becfbf25f4c" providerId="ADAL" clId="{A207814F-74B0-4056-A2ED-E73A07B0306C}" dt="2020-05-27T08:18:45.701" v="854"/>
          <ac:spMkLst>
            <pc:docMk/>
            <pc:sldMk cId="4252373871" sldId="2802"/>
            <ac:spMk id="4" creationId="{2625C2D0-8F50-40EC-BA91-A1FF2949065C}"/>
          </ac:spMkLst>
        </pc:spChg>
        <pc:spChg chg="add mod">
          <ac:chgData name="Stapel, Stephan" userId="4830af1d-78b3-4e6c-b8fa-2becfbf25f4c" providerId="ADAL" clId="{A207814F-74B0-4056-A2ED-E73A07B0306C}" dt="2020-05-29T10:27:28.732" v="9957" actId="790"/>
          <ac:spMkLst>
            <pc:docMk/>
            <pc:sldMk cId="4252373871" sldId="2802"/>
            <ac:spMk id="5" creationId="{0A6BD3B8-BCEA-4B94-8660-2A4908DDB391}"/>
          </ac:spMkLst>
        </pc:spChg>
        <pc:picChg chg="add mod">
          <ac:chgData name="Stapel, Stephan" userId="4830af1d-78b3-4e6c-b8fa-2becfbf25f4c" providerId="ADAL" clId="{A207814F-74B0-4056-A2ED-E73A07B0306C}" dt="2020-05-27T08:18:53.204" v="859" actId="27614"/>
          <ac:picMkLst>
            <pc:docMk/>
            <pc:sldMk cId="4252373871" sldId="2802"/>
            <ac:picMk id="7" creationId="{04275E3D-188A-4915-9EF1-509EB7BAF9CF}"/>
          </ac:picMkLst>
        </pc:picChg>
      </pc:sldChg>
      <pc:sldChg chg="addSp delSp modSp add">
        <pc:chgData name="Stapel, Stephan" userId="4830af1d-78b3-4e6c-b8fa-2becfbf25f4c" providerId="ADAL" clId="{A207814F-74B0-4056-A2ED-E73A07B0306C}" dt="2020-05-29T10:28:11.168" v="9961" actId="790"/>
        <pc:sldMkLst>
          <pc:docMk/>
          <pc:sldMk cId="1556771872" sldId="2803"/>
        </pc:sldMkLst>
        <pc:spChg chg="mod">
          <ac:chgData name="Stapel, Stephan" userId="4830af1d-78b3-4e6c-b8fa-2becfbf25f4c" providerId="ADAL" clId="{A207814F-74B0-4056-A2ED-E73A07B0306C}" dt="2020-05-29T10:28:11.168" v="9961" actId="790"/>
          <ac:spMkLst>
            <pc:docMk/>
            <pc:sldMk cId="1556771872" sldId="2803"/>
            <ac:spMk id="2" creationId="{73E4A998-7E8F-4C73-B638-2AD602E74401}"/>
          </ac:spMkLst>
        </pc:spChg>
        <pc:spChg chg="mod">
          <ac:chgData name="Stapel, Stephan" userId="4830af1d-78b3-4e6c-b8fa-2becfbf25f4c" providerId="ADAL" clId="{A207814F-74B0-4056-A2ED-E73A07B0306C}" dt="2020-05-29T10:28:11.168" v="9961" actId="790"/>
          <ac:spMkLst>
            <pc:docMk/>
            <pc:sldMk cId="1556771872" sldId="2803"/>
            <ac:spMk id="3" creationId="{8B70788E-B6D7-4F4F-8BE4-4747D36CC8BE}"/>
          </ac:spMkLst>
        </pc:spChg>
        <pc:spChg chg="add mod">
          <ac:chgData name="Stapel, Stephan" userId="4830af1d-78b3-4e6c-b8fa-2becfbf25f4c" providerId="ADAL" clId="{A207814F-74B0-4056-A2ED-E73A07B0306C}" dt="2020-05-29T10:28:11.168" v="9961" actId="790"/>
          <ac:spMkLst>
            <pc:docMk/>
            <pc:sldMk cId="1556771872" sldId="2803"/>
            <ac:spMk id="5" creationId="{651112E0-6554-4103-91E0-AC0FAAEEE48F}"/>
          </ac:spMkLst>
        </pc:spChg>
        <pc:spChg chg="del mod">
          <ac:chgData name="Stapel, Stephan" userId="4830af1d-78b3-4e6c-b8fa-2becfbf25f4c" providerId="ADAL" clId="{A207814F-74B0-4056-A2ED-E73A07B0306C}" dt="2020-05-28T20:14:44.491" v="2404" actId="478"/>
          <ac:spMkLst>
            <pc:docMk/>
            <pc:sldMk cId="1556771872" sldId="2803"/>
            <ac:spMk id="7" creationId="{7705C9C0-2F33-4AA9-B94D-10237032753B}"/>
          </ac:spMkLst>
        </pc:spChg>
        <pc:spChg chg="del mod">
          <ac:chgData name="Stapel, Stephan" userId="4830af1d-78b3-4e6c-b8fa-2becfbf25f4c" providerId="ADAL" clId="{A207814F-74B0-4056-A2ED-E73A07B0306C}" dt="2020-05-28T20:14:44.491" v="2404" actId="478"/>
          <ac:spMkLst>
            <pc:docMk/>
            <pc:sldMk cId="1556771872" sldId="2803"/>
            <ac:spMk id="8" creationId="{00AAA7D4-7F30-4F7E-93AD-E29983620743}"/>
          </ac:spMkLst>
        </pc:spChg>
        <pc:spChg chg="del mod">
          <ac:chgData name="Stapel, Stephan" userId="4830af1d-78b3-4e6c-b8fa-2becfbf25f4c" providerId="ADAL" clId="{A207814F-74B0-4056-A2ED-E73A07B0306C}" dt="2020-05-28T20:14:44.491" v="2404" actId="478"/>
          <ac:spMkLst>
            <pc:docMk/>
            <pc:sldMk cId="1556771872" sldId="2803"/>
            <ac:spMk id="9" creationId="{485304C4-CA6A-4CE0-9D3C-751250515E5C}"/>
          </ac:spMkLst>
        </pc:spChg>
        <pc:spChg chg="del">
          <ac:chgData name="Stapel, Stephan" userId="4830af1d-78b3-4e6c-b8fa-2becfbf25f4c" providerId="ADAL" clId="{A207814F-74B0-4056-A2ED-E73A07B0306C}" dt="2020-05-28T20:14:44.491" v="2404" actId="478"/>
          <ac:spMkLst>
            <pc:docMk/>
            <pc:sldMk cId="1556771872" sldId="2803"/>
            <ac:spMk id="10" creationId="{16B5F6A5-3232-4801-80D8-49D67DFE1EE6}"/>
          </ac:spMkLst>
        </pc:spChg>
        <pc:spChg chg="del">
          <ac:chgData name="Stapel, Stephan" userId="4830af1d-78b3-4e6c-b8fa-2becfbf25f4c" providerId="ADAL" clId="{A207814F-74B0-4056-A2ED-E73A07B0306C}" dt="2020-05-28T20:14:44.491" v="2404" actId="478"/>
          <ac:spMkLst>
            <pc:docMk/>
            <pc:sldMk cId="1556771872" sldId="2803"/>
            <ac:spMk id="11" creationId="{8F160DAA-F038-4E60-9685-A6F919E712BA}"/>
          </ac:spMkLst>
        </pc:spChg>
        <pc:spChg chg="del">
          <ac:chgData name="Stapel, Stephan" userId="4830af1d-78b3-4e6c-b8fa-2becfbf25f4c" providerId="ADAL" clId="{A207814F-74B0-4056-A2ED-E73A07B0306C}" dt="2020-05-28T20:14:44.491" v="2404" actId="478"/>
          <ac:spMkLst>
            <pc:docMk/>
            <pc:sldMk cId="1556771872" sldId="2803"/>
            <ac:spMk id="12" creationId="{AA0BD78E-4C04-4216-977E-61028CC363C7}"/>
          </ac:spMkLst>
        </pc:spChg>
        <pc:spChg chg="del">
          <ac:chgData name="Stapel, Stephan" userId="4830af1d-78b3-4e6c-b8fa-2becfbf25f4c" providerId="ADAL" clId="{A207814F-74B0-4056-A2ED-E73A07B0306C}" dt="2020-05-28T20:14:44.491" v="2404" actId="478"/>
          <ac:spMkLst>
            <pc:docMk/>
            <pc:sldMk cId="1556771872" sldId="2803"/>
            <ac:spMk id="13" creationId="{0D74FD27-1A85-4FC6-AF4D-F0D38733EB0D}"/>
          </ac:spMkLst>
        </pc:spChg>
        <pc:spChg chg="del mod">
          <ac:chgData name="Stapel, Stephan" userId="4830af1d-78b3-4e6c-b8fa-2becfbf25f4c" providerId="ADAL" clId="{A207814F-74B0-4056-A2ED-E73A07B0306C}" dt="2020-05-28T20:14:44.491" v="2404" actId="478"/>
          <ac:spMkLst>
            <pc:docMk/>
            <pc:sldMk cId="1556771872" sldId="2803"/>
            <ac:spMk id="14" creationId="{B311453F-C592-46E4-AB06-CC4DFC2FDE66}"/>
          </ac:spMkLst>
        </pc:spChg>
        <pc:spChg chg="del mod">
          <ac:chgData name="Stapel, Stephan" userId="4830af1d-78b3-4e6c-b8fa-2becfbf25f4c" providerId="ADAL" clId="{A207814F-74B0-4056-A2ED-E73A07B0306C}" dt="2020-05-28T20:14:44.491" v="2404" actId="478"/>
          <ac:spMkLst>
            <pc:docMk/>
            <pc:sldMk cId="1556771872" sldId="2803"/>
            <ac:spMk id="15" creationId="{3380C03E-F369-46E9-A9C6-864408F2557A}"/>
          </ac:spMkLst>
        </pc:spChg>
        <pc:spChg chg="del mod">
          <ac:chgData name="Stapel, Stephan" userId="4830af1d-78b3-4e6c-b8fa-2becfbf25f4c" providerId="ADAL" clId="{A207814F-74B0-4056-A2ED-E73A07B0306C}" dt="2020-05-28T20:14:44.491" v="2404" actId="478"/>
          <ac:spMkLst>
            <pc:docMk/>
            <pc:sldMk cId="1556771872" sldId="2803"/>
            <ac:spMk id="16" creationId="{333A8429-AB99-4456-B7B7-7B822B0526E2}"/>
          </ac:spMkLst>
        </pc:spChg>
        <pc:spChg chg="del mod">
          <ac:chgData name="Stapel, Stephan" userId="4830af1d-78b3-4e6c-b8fa-2becfbf25f4c" providerId="ADAL" clId="{A207814F-74B0-4056-A2ED-E73A07B0306C}" dt="2020-05-28T20:14:44.491" v="2404" actId="478"/>
          <ac:spMkLst>
            <pc:docMk/>
            <pc:sldMk cId="1556771872" sldId="2803"/>
            <ac:spMk id="17" creationId="{41546CE3-9896-4B92-9B53-183DC2FA6F71}"/>
          </ac:spMkLst>
        </pc:spChg>
        <pc:spChg chg="del mod">
          <ac:chgData name="Stapel, Stephan" userId="4830af1d-78b3-4e6c-b8fa-2becfbf25f4c" providerId="ADAL" clId="{A207814F-74B0-4056-A2ED-E73A07B0306C}" dt="2020-05-28T20:14:44.491" v="2404" actId="478"/>
          <ac:spMkLst>
            <pc:docMk/>
            <pc:sldMk cId="1556771872" sldId="2803"/>
            <ac:spMk id="18" creationId="{EAE0E2E2-E3A4-49D0-BB78-6954BFCC7BB9}"/>
          </ac:spMkLst>
        </pc:spChg>
        <pc:spChg chg="del">
          <ac:chgData name="Stapel, Stephan" userId="4830af1d-78b3-4e6c-b8fa-2becfbf25f4c" providerId="ADAL" clId="{A207814F-74B0-4056-A2ED-E73A07B0306C}" dt="2020-05-28T20:14:44.491" v="2404" actId="478"/>
          <ac:spMkLst>
            <pc:docMk/>
            <pc:sldMk cId="1556771872" sldId="2803"/>
            <ac:spMk id="19" creationId="{29319A95-A713-4CC6-8280-8EA64A56DBDB}"/>
          </ac:spMkLst>
        </pc:spChg>
        <pc:spChg chg="del">
          <ac:chgData name="Stapel, Stephan" userId="4830af1d-78b3-4e6c-b8fa-2becfbf25f4c" providerId="ADAL" clId="{A207814F-74B0-4056-A2ED-E73A07B0306C}" dt="2020-05-28T20:14:44.491" v="2404" actId="478"/>
          <ac:spMkLst>
            <pc:docMk/>
            <pc:sldMk cId="1556771872" sldId="2803"/>
            <ac:spMk id="20" creationId="{DE70EEF3-0026-4B27-88A9-3739877ABFB0}"/>
          </ac:spMkLst>
        </pc:spChg>
        <pc:spChg chg="del">
          <ac:chgData name="Stapel, Stephan" userId="4830af1d-78b3-4e6c-b8fa-2becfbf25f4c" providerId="ADAL" clId="{A207814F-74B0-4056-A2ED-E73A07B0306C}" dt="2020-05-28T20:14:44.491" v="2404" actId="478"/>
          <ac:spMkLst>
            <pc:docMk/>
            <pc:sldMk cId="1556771872" sldId="2803"/>
            <ac:spMk id="21" creationId="{A58769BA-6B3D-4C50-AB7B-364852B42F4F}"/>
          </ac:spMkLst>
        </pc:spChg>
        <pc:spChg chg="del">
          <ac:chgData name="Stapel, Stephan" userId="4830af1d-78b3-4e6c-b8fa-2becfbf25f4c" providerId="ADAL" clId="{A207814F-74B0-4056-A2ED-E73A07B0306C}" dt="2020-05-28T20:14:44.491" v="2404" actId="478"/>
          <ac:spMkLst>
            <pc:docMk/>
            <pc:sldMk cId="1556771872" sldId="2803"/>
            <ac:spMk id="22" creationId="{3FB02495-0B24-42DD-A632-E316EA4E2975}"/>
          </ac:spMkLst>
        </pc:spChg>
        <pc:spChg chg="del">
          <ac:chgData name="Stapel, Stephan" userId="4830af1d-78b3-4e6c-b8fa-2becfbf25f4c" providerId="ADAL" clId="{A207814F-74B0-4056-A2ED-E73A07B0306C}" dt="2020-05-28T20:14:44.491" v="2404" actId="478"/>
          <ac:spMkLst>
            <pc:docMk/>
            <pc:sldMk cId="1556771872" sldId="2803"/>
            <ac:spMk id="23" creationId="{96FA92DD-3C07-460F-9E03-1C9EB7F53358}"/>
          </ac:spMkLst>
        </pc:spChg>
        <pc:spChg chg="del">
          <ac:chgData name="Stapel, Stephan" userId="4830af1d-78b3-4e6c-b8fa-2becfbf25f4c" providerId="ADAL" clId="{A207814F-74B0-4056-A2ED-E73A07B0306C}" dt="2020-05-28T20:14:44.491" v="2404" actId="478"/>
          <ac:spMkLst>
            <pc:docMk/>
            <pc:sldMk cId="1556771872" sldId="2803"/>
            <ac:spMk id="24" creationId="{D1F337EC-45B2-4D20-806B-6D4854DDB96D}"/>
          </ac:spMkLst>
        </pc:spChg>
        <pc:spChg chg="del">
          <ac:chgData name="Stapel, Stephan" userId="4830af1d-78b3-4e6c-b8fa-2becfbf25f4c" providerId="ADAL" clId="{A207814F-74B0-4056-A2ED-E73A07B0306C}" dt="2020-05-28T20:14:44.491" v="2404" actId="478"/>
          <ac:spMkLst>
            <pc:docMk/>
            <pc:sldMk cId="1556771872" sldId="2803"/>
            <ac:spMk id="25" creationId="{90CC8D58-1DC6-4B2C-8563-83F5A2BD658C}"/>
          </ac:spMkLst>
        </pc:spChg>
        <pc:spChg chg="del">
          <ac:chgData name="Stapel, Stephan" userId="4830af1d-78b3-4e6c-b8fa-2becfbf25f4c" providerId="ADAL" clId="{A207814F-74B0-4056-A2ED-E73A07B0306C}" dt="2020-05-28T20:14:44.491" v="2404" actId="478"/>
          <ac:spMkLst>
            <pc:docMk/>
            <pc:sldMk cId="1556771872" sldId="2803"/>
            <ac:spMk id="26" creationId="{8A8651CD-3724-4422-9B7B-8B68C4CD5488}"/>
          </ac:spMkLst>
        </pc:spChg>
        <pc:spChg chg="del">
          <ac:chgData name="Stapel, Stephan" userId="4830af1d-78b3-4e6c-b8fa-2becfbf25f4c" providerId="ADAL" clId="{A207814F-74B0-4056-A2ED-E73A07B0306C}" dt="2020-05-28T20:14:44.491" v="2404" actId="478"/>
          <ac:spMkLst>
            <pc:docMk/>
            <pc:sldMk cId="1556771872" sldId="2803"/>
            <ac:spMk id="27" creationId="{E5F78844-8199-456D-96AA-6CF6453F57EC}"/>
          </ac:spMkLst>
        </pc:spChg>
        <pc:spChg chg="del">
          <ac:chgData name="Stapel, Stephan" userId="4830af1d-78b3-4e6c-b8fa-2becfbf25f4c" providerId="ADAL" clId="{A207814F-74B0-4056-A2ED-E73A07B0306C}" dt="2020-05-28T20:14:44.491" v="2404" actId="478"/>
          <ac:spMkLst>
            <pc:docMk/>
            <pc:sldMk cId="1556771872" sldId="2803"/>
            <ac:spMk id="28" creationId="{4975E0F5-BF7E-4CD6-B359-269EA3F076FC}"/>
          </ac:spMkLst>
        </pc:spChg>
        <pc:spChg chg="del">
          <ac:chgData name="Stapel, Stephan" userId="4830af1d-78b3-4e6c-b8fa-2becfbf25f4c" providerId="ADAL" clId="{A207814F-74B0-4056-A2ED-E73A07B0306C}" dt="2020-05-28T20:14:44.491" v="2404" actId="478"/>
          <ac:spMkLst>
            <pc:docMk/>
            <pc:sldMk cId="1556771872" sldId="2803"/>
            <ac:spMk id="29" creationId="{FCEE24BF-A46B-4BF8-B25D-7644E328FF90}"/>
          </ac:spMkLst>
        </pc:spChg>
        <pc:picChg chg="mod">
          <ac:chgData name="Stapel, Stephan" userId="4830af1d-78b3-4e6c-b8fa-2becfbf25f4c" providerId="ADAL" clId="{A207814F-74B0-4056-A2ED-E73A07B0306C}" dt="2020-05-28T20:22:38.290" v="2793" actId="208"/>
          <ac:picMkLst>
            <pc:docMk/>
            <pc:sldMk cId="1556771872" sldId="2803"/>
            <ac:picMk id="4" creationId="{E4769E91-2C37-4859-9E27-2DBAAACD5952}"/>
          </ac:picMkLst>
        </pc:picChg>
        <pc:picChg chg="del">
          <ac:chgData name="Stapel, Stephan" userId="4830af1d-78b3-4e6c-b8fa-2becfbf25f4c" providerId="ADAL" clId="{A207814F-74B0-4056-A2ED-E73A07B0306C}" dt="2020-05-28T20:19:08.769" v="2493" actId="478"/>
          <ac:picMkLst>
            <pc:docMk/>
            <pc:sldMk cId="1556771872" sldId="2803"/>
            <ac:picMk id="6" creationId="{DAB9C7FB-15DC-4BBC-9944-083E3618D8C3}"/>
          </ac:picMkLst>
        </pc:picChg>
        <pc:picChg chg="add mod">
          <ac:chgData name="Stapel, Stephan" userId="4830af1d-78b3-4e6c-b8fa-2becfbf25f4c" providerId="ADAL" clId="{A207814F-74B0-4056-A2ED-E73A07B0306C}" dt="2020-05-28T20:24:09.803" v="2961" actId="1076"/>
          <ac:picMkLst>
            <pc:docMk/>
            <pc:sldMk cId="1556771872" sldId="2803"/>
            <ac:picMk id="31" creationId="{542581C9-4C5F-4241-9CAF-9A40FD65EACB}"/>
          </ac:picMkLst>
        </pc:picChg>
      </pc:sldChg>
      <pc:sldChg chg="addSp modSp add">
        <pc:chgData name="Stapel, Stephan" userId="4830af1d-78b3-4e6c-b8fa-2becfbf25f4c" providerId="ADAL" clId="{A207814F-74B0-4056-A2ED-E73A07B0306C}" dt="2020-05-29T10:28:42.978" v="9964" actId="790"/>
        <pc:sldMkLst>
          <pc:docMk/>
          <pc:sldMk cId="2726723032" sldId="2804"/>
        </pc:sldMkLst>
        <pc:spChg chg="mod">
          <ac:chgData name="Stapel, Stephan" userId="4830af1d-78b3-4e6c-b8fa-2becfbf25f4c" providerId="ADAL" clId="{A207814F-74B0-4056-A2ED-E73A07B0306C}" dt="2020-05-29T10:28:42.978" v="9964" actId="790"/>
          <ac:spMkLst>
            <pc:docMk/>
            <pc:sldMk cId="2726723032" sldId="2804"/>
            <ac:spMk id="2" creationId="{E079CDB4-E374-4026-98D6-5C215A2044F4}"/>
          </ac:spMkLst>
        </pc:spChg>
        <pc:spChg chg="mod">
          <ac:chgData name="Stapel, Stephan" userId="4830af1d-78b3-4e6c-b8fa-2becfbf25f4c" providerId="ADAL" clId="{A207814F-74B0-4056-A2ED-E73A07B0306C}" dt="2020-05-29T10:28:42.978" v="9964" actId="790"/>
          <ac:spMkLst>
            <pc:docMk/>
            <pc:sldMk cId="2726723032" sldId="2804"/>
            <ac:spMk id="3" creationId="{F7C0BD8A-CB72-4AFC-BAA1-2651E112AFF0}"/>
          </ac:spMkLst>
        </pc:spChg>
        <pc:spChg chg="mod">
          <ac:chgData name="Stapel, Stephan" userId="4830af1d-78b3-4e6c-b8fa-2becfbf25f4c" providerId="ADAL" clId="{A207814F-74B0-4056-A2ED-E73A07B0306C}" dt="2020-05-29T10:28:42.978" v="9964" actId="790"/>
          <ac:spMkLst>
            <pc:docMk/>
            <pc:sldMk cId="2726723032" sldId="2804"/>
            <ac:spMk id="4" creationId="{50B24903-C268-484B-A3BE-4D4BF1B74786}"/>
          </ac:spMkLst>
        </pc:spChg>
        <pc:spChg chg="add mod">
          <ac:chgData name="Stapel, Stephan" userId="4830af1d-78b3-4e6c-b8fa-2becfbf25f4c" providerId="ADAL" clId="{A207814F-74B0-4056-A2ED-E73A07B0306C}" dt="2020-05-29T10:28:42.978" v="9964" actId="790"/>
          <ac:spMkLst>
            <pc:docMk/>
            <pc:sldMk cId="2726723032" sldId="2804"/>
            <ac:spMk id="5" creationId="{F841B99E-902B-4EC1-ACA9-6CC4EB8404B9}"/>
          </ac:spMkLst>
        </pc:spChg>
        <pc:spChg chg="add mod">
          <ac:chgData name="Stapel, Stephan" userId="4830af1d-78b3-4e6c-b8fa-2becfbf25f4c" providerId="ADAL" clId="{A207814F-74B0-4056-A2ED-E73A07B0306C}" dt="2020-05-29T10:28:42.978" v="9964" actId="790"/>
          <ac:spMkLst>
            <pc:docMk/>
            <pc:sldMk cId="2726723032" sldId="2804"/>
            <ac:spMk id="6" creationId="{397EBC6E-DAA9-491C-ADC5-BB11DEC5EFE2}"/>
          </ac:spMkLst>
        </pc:spChg>
        <pc:spChg chg="add mod">
          <ac:chgData name="Stapel, Stephan" userId="4830af1d-78b3-4e6c-b8fa-2becfbf25f4c" providerId="ADAL" clId="{A207814F-74B0-4056-A2ED-E73A07B0306C}" dt="2020-05-29T10:28:42.978" v="9964" actId="790"/>
          <ac:spMkLst>
            <pc:docMk/>
            <pc:sldMk cId="2726723032" sldId="2804"/>
            <ac:spMk id="7" creationId="{5CD210A5-7486-467E-BA6C-99A54AC24C9A}"/>
          </ac:spMkLst>
        </pc:spChg>
        <pc:spChg chg="add mod">
          <ac:chgData name="Stapel, Stephan" userId="4830af1d-78b3-4e6c-b8fa-2becfbf25f4c" providerId="ADAL" clId="{A207814F-74B0-4056-A2ED-E73A07B0306C}" dt="2020-05-29T10:28:42.978" v="9964" actId="790"/>
          <ac:spMkLst>
            <pc:docMk/>
            <pc:sldMk cId="2726723032" sldId="2804"/>
            <ac:spMk id="8" creationId="{3CE0A59D-DEA6-4FDD-9C62-626D122428DB}"/>
          </ac:spMkLst>
        </pc:spChg>
        <pc:spChg chg="add mod">
          <ac:chgData name="Stapel, Stephan" userId="4830af1d-78b3-4e6c-b8fa-2becfbf25f4c" providerId="ADAL" clId="{A207814F-74B0-4056-A2ED-E73A07B0306C}" dt="2020-05-29T10:28:42.978" v="9964" actId="790"/>
          <ac:spMkLst>
            <pc:docMk/>
            <pc:sldMk cId="2726723032" sldId="2804"/>
            <ac:spMk id="9" creationId="{B1C47388-46FB-4ADD-932C-5099A375B6A2}"/>
          </ac:spMkLst>
        </pc:spChg>
        <pc:spChg chg="add mod">
          <ac:chgData name="Stapel, Stephan" userId="4830af1d-78b3-4e6c-b8fa-2becfbf25f4c" providerId="ADAL" clId="{A207814F-74B0-4056-A2ED-E73A07B0306C}" dt="2020-05-29T10:28:42.978" v="9964" actId="790"/>
          <ac:spMkLst>
            <pc:docMk/>
            <pc:sldMk cId="2726723032" sldId="2804"/>
            <ac:spMk id="10" creationId="{C47D3D4A-DCD9-497F-A17D-471D487747E8}"/>
          </ac:spMkLst>
        </pc:spChg>
        <pc:spChg chg="add mod">
          <ac:chgData name="Stapel, Stephan" userId="4830af1d-78b3-4e6c-b8fa-2becfbf25f4c" providerId="ADAL" clId="{A207814F-74B0-4056-A2ED-E73A07B0306C}" dt="2020-05-29T10:28:42.978" v="9964" actId="790"/>
          <ac:spMkLst>
            <pc:docMk/>
            <pc:sldMk cId="2726723032" sldId="2804"/>
            <ac:spMk id="11" creationId="{94AD42E6-1CA6-443D-97FB-F35D5482C822}"/>
          </ac:spMkLst>
        </pc:spChg>
        <pc:spChg chg="add mod">
          <ac:chgData name="Stapel, Stephan" userId="4830af1d-78b3-4e6c-b8fa-2becfbf25f4c" providerId="ADAL" clId="{A207814F-74B0-4056-A2ED-E73A07B0306C}" dt="2020-05-29T10:28:42.978" v="9964" actId="790"/>
          <ac:spMkLst>
            <pc:docMk/>
            <pc:sldMk cId="2726723032" sldId="2804"/>
            <ac:spMk id="12" creationId="{7A3FF705-E7C3-4006-A990-052ACEC3F327}"/>
          </ac:spMkLst>
        </pc:spChg>
        <pc:spChg chg="add mod">
          <ac:chgData name="Stapel, Stephan" userId="4830af1d-78b3-4e6c-b8fa-2becfbf25f4c" providerId="ADAL" clId="{A207814F-74B0-4056-A2ED-E73A07B0306C}" dt="2020-05-29T10:28:42.978" v="9964" actId="790"/>
          <ac:spMkLst>
            <pc:docMk/>
            <pc:sldMk cId="2726723032" sldId="2804"/>
            <ac:spMk id="13" creationId="{DFE22126-398C-4E44-9CD3-7CB23E637798}"/>
          </ac:spMkLst>
        </pc:spChg>
        <pc:spChg chg="add mod">
          <ac:chgData name="Stapel, Stephan" userId="4830af1d-78b3-4e6c-b8fa-2becfbf25f4c" providerId="ADAL" clId="{A207814F-74B0-4056-A2ED-E73A07B0306C}" dt="2020-05-29T10:28:42.978" v="9964" actId="790"/>
          <ac:spMkLst>
            <pc:docMk/>
            <pc:sldMk cId="2726723032" sldId="2804"/>
            <ac:spMk id="14" creationId="{2E04FFCF-5995-4561-873F-B86080684187}"/>
          </ac:spMkLst>
        </pc:spChg>
        <pc:spChg chg="add mod">
          <ac:chgData name="Stapel, Stephan" userId="4830af1d-78b3-4e6c-b8fa-2becfbf25f4c" providerId="ADAL" clId="{A207814F-74B0-4056-A2ED-E73A07B0306C}" dt="2020-05-29T10:28:42.978" v="9964" actId="790"/>
          <ac:spMkLst>
            <pc:docMk/>
            <pc:sldMk cId="2726723032" sldId="2804"/>
            <ac:spMk id="15" creationId="{39CA6A3F-D3BA-490D-AA8A-64D44210D1FC}"/>
          </ac:spMkLst>
        </pc:spChg>
        <pc:spChg chg="add mod">
          <ac:chgData name="Stapel, Stephan" userId="4830af1d-78b3-4e6c-b8fa-2becfbf25f4c" providerId="ADAL" clId="{A207814F-74B0-4056-A2ED-E73A07B0306C}" dt="2020-05-29T10:28:42.978" v="9964" actId="790"/>
          <ac:spMkLst>
            <pc:docMk/>
            <pc:sldMk cId="2726723032" sldId="2804"/>
            <ac:spMk id="16" creationId="{0D19969F-773E-479F-8141-2BF1E9812B9A}"/>
          </ac:spMkLst>
        </pc:spChg>
        <pc:picChg chg="add mod">
          <ac:chgData name="Stapel, Stephan" userId="4830af1d-78b3-4e6c-b8fa-2becfbf25f4c" providerId="ADAL" clId="{A207814F-74B0-4056-A2ED-E73A07B0306C}" dt="2020-05-28T22:16:10.491" v="5569" actId="208"/>
          <ac:picMkLst>
            <pc:docMk/>
            <pc:sldMk cId="2726723032" sldId="2804"/>
            <ac:picMk id="17" creationId="{D6E134A4-D47D-4CDB-B1DE-1A0F53C066BA}"/>
          </ac:picMkLst>
        </pc:picChg>
      </pc:sldChg>
      <pc:sldChg chg="addSp modSp add">
        <pc:chgData name="Stapel, Stephan" userId="4830af1d-78b3-4e6c-b8fa-2becfbf25f4c" providerId="ADAL" clId="{A207814F-74B0-4056-A2ED-E73A07B0306C}" dt="2020-05-29T10:28:52.310" v="9965" actId="790"/>
        <pc:sldMkLst>
          <pc:docMk/>
          <pc:sldMk cId="1019370617" sldId="2805"/>
        </pc:sldMkLst>
        <pc:spChg chg="mod">
          <ac:chgData name="Stapel, Stephan" userId="4830af1d-78b3-4e6c-b8fa-2becfbf25f4c" providerId="ADAL" clId="{A207814F-74B0-4056-A2ED-E73A07B0306C}" dt="2020-05-29T10:28:52.310" v="9965" actId="790"/>
          <ac:spMkLst>
            <pc:docMk/>
            <pc:sldMk cId="1019370617" sldId="2805"/>
            <ac:spMk id="2" creationId="{E079CDB4-E374-4026-98D6-5C215A2044F4}"/>
          </ac:spMkLst>
        </pc:spChg>
        <pc:spChg chg="mod">
          <ac:chgData name="Stapel, Stephan" userId="4830af1d-78b3-4e6c-b8fa-2becfbf25f4c" providerId="ADAL" clId="{A207814F-74B0-4056-A2ED-E73A07B0306C}" dt="2020-05-29T10:28:52.310" v="9965" actId="790"/>
          <ac:spMkLst>
            <pc:docMk/>
            <pc:sldMk cId="1019370617" sldId="2805"/>
            <ac:spMk id="3" creationId="{F7C0BD8A-CB72-4AFC-BAA1-2651E112AFF0}"/>
          </ac:spMkLst>
        </pc:spChg>
        <pc:spChg chg="mod">
          <ac:chgData name="Stapel, Stephan" userId="4830af1d-78b3-4e6c-b8fa-2becfbf25f4c" providerId="ADAL" clId="{A207814F-74B0-4056-A2ED-E73A07B0306C}" dt="2020-05-29T10:28:52.310" v="9965" actId="790"/>
          <ac:spMkLst>
            <pc:docMk/>
            <pc:sldMk cId="1019370617" sldId="2805"/>
            <ac:spMk id="4" creationId="{50B24903-C268-484B-A3BE-4D4BF1B74786}"/>
          </ac:spMkLst>
        </pc:spChg>
        <pc:spChg chg="mod">
          <ac:chgData name="Stapel, Stephan" userId="4830af1d-78b3-4e6c-b8fa-2becfbf25f4c" providerId="ADAL" clId="{A207814F-74B0-4056-A2ED-E73A07B0306C}" dt="2020-05-29T10:28:52.310" v="9965" actId="790"/>
          <ac:spMkLst>
            <pc:docMk/>
            <pc:sldMk cId="1019370617" sldId="2805"/>
            <ac:spMk id="5" creationId="{F841B99E-902B-4EC1-ACA9-6CC4EB8404B9}"/>
          </ac:spMkLst>
        </pc:spChg>
        <pc:spChg chg="mod">
          <ac:chgData name="Stapel, Stephan" userId="4830af1d-78b3-4e6c-b8fa-2becfbf25f4c" providerId="ADAL" clId="{A207814F-74B0-4056-A2ED-E73A07B0306C}" dt="2020-05-29T10:28:52.310" v="9965" actId="790"/>
          <ac:spMkLst>
            <pc:docMk/>
            <pc:sldMk cId="1019370617" sldId="2805"/>
            <ac:spMk id="6" creationId="{397EBC6E-DAA9-491C-ADC5-BB11DEC5EFE2}"/>
          </ac:spMkLst>
        </pc:spChg>
        <pc:spChg chg="mod">
          <ac:chgData name="Stapel, Stephan" userId="4830af1d-78b3-4e6c-b8fa-2becfbf25f4c" providerId="ADAL" clId="{A207814F-74B0-4056-A2ED-E73A07B0306C}" dt="2020-05-29T10:28:52.310" v="9965" actId="790"/>
          <ac:spMkLst>
            <pc:docMk/>
            <pc:sldMk cId="1019370617" sldId="2805"/>
            <ac:spMk id="7" creationId="{5CD210A5-7486-467E-BA6C-99A54AC24C9A}"/>
          </ac:spMkLst>
        </pc:spChg>
        <pc:spChg chg="mod">
          <ac:chgData name="Stapel, Stephan" userId="4830af1d-78b3-4e6c-b8fa-2becfbf25f4c" providerId="ADAL" clId="{A207814F-74B0-4056-A2ED-E73A07B0306C}" dt="2020-05-29T10:28:52.310" v="9965" actId="790"/>
          <ac:spMkLst>
            <pc:docMk/>
            <pc:sldMk cId="1019370617" sldId="2805"/>
            <ac:spMk id="8" creationId="{3CE0A59D-DEA6-4FDD-9C62-626D122428DB}"/>
          </ac:spMkLst>
        </pc:spChg>
        <pc:spChg chg="mod">
          <ac:chgData name="Stapel, Stephan" userId="4830af1d-78b3-4e6c-b8fa-2becfbf25f4c" providerId="ADAL" clId="{A207814F-74B0-4056-A2ED-E73A07B0306C}" dt="2020-05-29T10:28:52.310" v="9965" actId="790"/>
          <ac:spMkLst>
            <pc:docMk/>
            <pc:sldMk cId="1019370617" sldId="2805"/>
            <ac:spMk id="9" creationId="{B1C47388-46FB-4ADD-932C-5099A375B6A2}"/>
          </ac:spMkLst>
        </pc:spChg>
        <pc:spChg chg="mod">
          <ac:chgData name="Stapel, Stephan" userId="4830af1d-78b3-4e6c-b8fa-2becfbf25f4c" providerId="ADAL" clId="{A207814F-74B0-4056-A2ED-E73A07B0306C}" dt="2020-05-29T10:28:52.310" v="9965" actId="790"/>
          <ac:spMkLst>
            <pc:docMk/>
            <pc:sldMk cId="1019370617" sldId="2805"/>
            <ac:spMk id="10" creationId="{C47D3D4A-DCD9-497F-A17D-471D487747E8}"/>
          </ac:spMkLst>
        </pc:spChg>
        <pc:spChg chg="mod">
          <ac:chgData name="Stapel, Stephan" userId="4830af1d-78b3-4e6c-b8fa-2becfbf25f4c" providerId="ADAL" clId="{A207814F-74B0-4056-A2ED-E73A07B0306C}" dt="2020-05-29T10:28:52.310" v="9965" actId="790"/>
          <ac:spMkLst>
            <pc:docMk/>
            <pc:sldMk cId="1019370617" sldId="2805"/>
            <ac:spMk id="11" creationId="{94AD42E6-1CA6-443D-97FB-F35D5482C822}"/>
          </ac:spMkLst>
        </pc:spChg>
        <pc:spChg chg="mod">
          <ac:chgData name="Stapel, Stephan" userId="4830af1d-78b3-4e6c-b8fa-2becfbf25f4c" providerId="ADAL" clId="{A207814F-74B0-4056-A2ED-E73A07B0306C}" dt="2020-05-29T10:28:52.310" v="9965" actId="790"/>
          <ac:spMkLst>
            <pc:docMk/>
            <pc:sldMk cId="1019370617" sldId="2805"/>
            <ac:spMk id="12" creationId="{7A3FF705-E7C3-4006-A990-052ACEC3F327}"/>
          </ac:spMkLst>
        </pc:spChg>
        <pc:spChg chg="mod">
          <ac:chgData name="Stapel, Stephan" userId="4830af1d-78b3-4e6c-b8fa-2becfbf25f4c" providerId="ADAL" clId="{A207814F-74B0-4056-A2ED-E73A07B0306C}" dt="2020-05-29T10:28:52.310" v="9965" actId="790"/>
          <ac:spMkLst>
            <pc:docMk/>
            <pc:sldMk cId="1019370617" sldId="2805"/>
            <ac:spMk id="13" creationId="{DFE22126-398C-4E44-9CD3-7CB23E637798}"/>
          </ac:spMkLst>
        </pc:spChg>
        <pc:spChg chg="mod">
          <ac:chgData name="Stapel, Stephan" userId="4830af1d-78b3-4e6c-b8fa-2becfbf25f4c" providerId="ADAL" clId="{A207814F-74B0-4056-A2ED-E73A07B0306C}" dt="2020-05-29T10:28:52.310" v="9965" actId="790"/>
          <ac:spMkLst>
            <pc:docMk/>
            <pc:sldMk cId="1019370617" sldId="2805"/>
            <ac:spMk id="14" creationId="{2E04FFCF-5995-4561-873F-B86080684187}"/>
          </ac:spMkLst>
        </pc:spChg>
        <pc:spChg chg="mod">
          <ac:chgData name="Stapel, Stephan" userId="4830af1d-78b3-4e6c-b8fa-2becfbf25f4c" providerId="ADAL" clId="{A207814F-74B0-4056-A2ED-E73A07B0306C}" dt="2020-05-29T10:28:52.310" v="9965" actId="790"/>
          <ac:spMkLst>
            <pc:docMk/>
            <pc:sldMk cId="1019370617" sldId="2805"/>
            <ac:spMk id="15" creationId="{39CA6A3F-D3BA-490D-AA8A-64D44210D1FC}"/>
          </ac:spMkLst>
        </pc:spChg>
        <pc:spChg chg="mod">
          <ac:chgData name="Stapel, Stephan" userId="4830af1d-78b3-4e6c-b8fa-2becfbf25f4c" providerId="ADAL" clId="{A207814F-74B0-4056-A2ED-E73A07B0306C}" dt="2020-05-29T10:28:52.310" v="9965" actId="790"/>
          <ac:spMkLst>
            <pc:docMk/>
            <pc:sldMk cId="1019370617" sldId="2805"/>
            <ac:spMk id="16" creationId="{0D19969F-773E-479F-8141-2BF1E9812B9A}"/>
          </ac:spMkLst>
        </pc:spChg>
        <pc:spChg chg="add mod">
          <ac:chgData name="Stapel, Stephan" userId="4830af1d-78b3-4e6c-b8fa-2becfbf25f4c" providerId="ADAL" clId="{A207814F-74B0-4056-A2ED-E73A07B0306C}" dt="2020-05-29T10:28:52.310" v="9965" actId="790"/>
          <ac:spMkLst>
            <pc:docMk/>
            <pc:sldMk cId="1019370617" sldId="2805"/>
            <ac:spMk id="17" creationId="{2194105D-E4D8-419F-B24F-776ADDC97E6A}"/>
          </ac:spMkLst>
        </pc:spChg>
        <pc:picChg chg="add mod">
          <ac:chgData name="Stapel, Stephan" userId="4830af1d-78b3-4e6c-b8fa-2becfbf25f4c" providerId="ADAL" clId="{A207814F-74B0-4056-A2ED-E73A07B0306C}" dt="2020-05-28T22:16:17.412" v="5573" actId="1076"/>
          <ac:picMkLst>
            <pc:docMk/>
            <pc:sldMk cId="1019370617" sldId="2805"/>
            <ac:picMk id="18" creationId="{EE560512-5A89-4FFD-983D-CBF20FDFCDBB}"/>
          </ac:picMkLst>
        </pc:picChg>
      </pc:sldChg>
      <pc:sldChg chg="modSp add">
        <pc:chgData name="Stapel, Stephan" userId="4830af1d-78b3-4e6c-b8fa-2becfbf25f4c" providerId="ADAL" clId="{A207814F-74B0-4056-A2ED-E73A07B0306C}" dt="2020-05-29T10:29:50.633" v="9970" actId="790"/>
        <pc:sldMkLst>
          <pc:docMk/>
          <pc:sldMk cId="742235391" sldId="2806"/>
        </pc:sldMkLst>
        <pc:spChg chg="mod">
          <ac:chgData name="Stapel, Stephan" userId="4830af1d-78b3-4e6c-b8fa-2becfbf25f4c" providerId="ADAL" clId="{A207814F-74B0-4056-A2ED-E73A07B0306C}" dt="2020-05-29T10:29:50.633" v="9970" actId="790"/>
          <ac:spMkLst>
            <pc:docMk/>
            <pc:sldMk cId="742235391" sldId="2806"/>
            <ac:spMk id="2" creationId="{E079CDB4-E374-4026-98D6-5C215A2044F4}"/>
          </ac:spMkLst>
        </pc:spChg>
        <pc:spChg chg="mod">
          <ac:chgData name="Stapel, Stephan" userId="4830af1d-78b3-4e6c-b8fa-2becfbf25f4c" providerId="ADAL" clId="{A207814F-74B0-4056-A2ED-E73A07B0306C}" dt="2020-05-29T10:29:50.633" v="9970" actId="790"/>
          <ac:spMkLst>
            <pc:docMk/>
            <pc:sldMk cId="742235391" sldId="2806"/>
            <ac:spMk id="3" creationId="{F7C0BD8A-CB72-4AFC-BAA1-2651E112AFF0}"/>
          </ac:spMkLst>
        </pc:spChg>
        <pc:spChg chg="mod">
          <ac:chgData name="Stapel, Stephan" userId="4830af1d-78b3-4e6c-b8fa-2becfbf25f4c" providerId="ADAL" clId="{A207814F-74B0-4056-A2ED-E73A07B0306C}" dt="2020-05-29T10:29:50.633" v="9970" actId="790"/>
          <ac:spMkLst>
            <pc:docMk/>
            <pc:sldMk cId="742235391" sldId="2806"/>
            <ac:spMk id="4" creationId="{50B24903-C268-484B-A3BE-4D4BF1B74786}"/>
          </ac:spMkLst>
        </pc:spChg>
        <pc:spChg chg="mod">
          <ac:chgData name="Stapel, Stephan" userId="4830af1d-78b3-4e6c-b8fa-2becfbf25f4c" providerId="ADAL" clId="{A207814F-74B0-4056-A2ED-E73A07B0306C}" dt="2020-05-29T10:29:50.633" v="9970" actId="790"/>
          <ac:spMkLst>
            <pc:docMk/>
            <pc:sldMk cId="742235391" sldId="2806"/>
            <ac:spMk id="5" creationId="{F841B99E-902B-4EC1-ACA9-6CC4EB8404B9}"/>
          </ac:spMkLst>
        </pc:spChg>
        <pc:spChg chg="mod">
          <ac:chgData name="Stapel, Stephan" userId="4830af1d-78b3-4e6c-b8fa-2becfbf25f4c" providerId="ADAL" clId="{A207814F-74B0-4056-A2ED-E73A07B0306C}" dt="2020-05-29T10:29:50.633" v="9970" actId="790"/>
          <ac:spMkLst>
            <pc:docMk/>
            <pc:sldMk cId="742235391" sldId="2806"/>
            <ac:spMk id="6" creationId="{397EBC6E-DAA9-491C-ADC5-BB11DEC5EFE2}"/>
          </ac:spMkLst>
        </pc:spChg>
        <pc:spChg chg="mod">
          <ac:chgData name="Stapel, Stephan" userId="4830af1d-78b3-4e6c-b8fa-2becfbf25f4c" providerId="ADAL" clId="{A207814F-74B0-4056-A2ED-E73A07B0306C}" dt="2020-05-29T10:29:50.633" v="9970" actId="790"/>
          <ac:spMkLst>
            <pc:docMk/>
            <pc:sldMk cId="742235391" sldId="2806"/>
            <ac:spMk id="7" creationId="{5CD210A5-7486-467E-BA6C-99A54AC24C9A}"/>
          </ac:spMkLst>
        </pc:spChg>
        <pc:spChg chg="mod">
          <ac:chgData name="Stapel, Stephan" userId="4830af1d-78b3-4e6c-b8fa-2becfbf25f4c" providerId="ADAL" clId="{A207814F-74B0-4056-A2ED-E73A07B0306C}" dt="2020-05-29T10:29:50.633" v="9970" actId="790"/>
          <ac:spMkLst>
            <pc:docMk/>
            <pc:sldMk cId="742235391" sldId="2806"/>
            <ac:spMk id="8" creationId="{3CE0A59D-DEA6-4FDD-9C62-626D122428DB}"/>
          </ac:spMkLst>
        </pc:spChg>
        <pc:spChg chg="mod">
          <ac:chgData name="Stapel, Stephan" userId="4830af1d-78b3-4e6c-b8fa-2becfbf25f4c" providerId="ADAL" clId="{A207814F-74B0-4056-A2ED-E73A07B0306C}" dt="2020-05-29T10:29:50.633" v="9970" actId="790"/>
          <ac:spMkLst>
            <pc:docMk/>
            <pc:sldMk cId="742235391" sldId="2806"/>
            <ac:spMk id="9" creationId="{B1C47388-46FB-4ADD-932C-5099A375B6A2}"/>
          </ac:spMkLst>
        </pc:spChg>
        <pc:spChg chg="mod">
          <ac:chgData name="Stapel, Stephan" userId="4830af1d-78b3-4e6c-b8fa-2becfbf25f4c" providerId="ADAL" clId="{A207814F-74B0-4056-A2ED-E73A07B0306C}" dt="2020-05-29T10:29:50.633" v="9970" actId="790"/>
          <ac:spMkLst>
            <pc:docMk/>
            <pc:sldMk cId="742235391" sldId="2806"/>
            <ac:spMk id="10" creationId="{C47D3D4A-DCD9-497F-A17D-471D487747E8}"/>
          </ac:spMkLst>
        </pc:spChg>
        <pc:spChg chg="mod">
          <ac:chgData name="Stapel, Stephan" userId="4830af1d-78b3-4e6c-b8fa-2becfbf25f4c" providerId="ADAL" clId="{A207814F-74B0-4056-A2ED-E73A07B0306C}" dt="2020-05-29T10:29:50.633" v="9970" actId="790"/>
          <ac:spMkLst>
            <pc:docMk/>
            <pc:sldMk cId="742235391" sldId="2806"/>
            <ac:spMk id="11" creationId="{94AD42E6-1CA6-443D-97FB-F35D5482C822}"/>
          </ac:spMkLst>
        </pc:spChg>
        <pc:spChg chg="mod">
          <ac:chgData name="Stapel, Stephan" userId="4830af1d-78b3-4e6c-b8fa-2becfbf25f4c" providerId="ADAL" clId="{A207814F-74B0-4056-A2ED-E73A07B0306C}" dt="2020-05-29T10:29:50.633" v="9970" actId="790"/>
          <ac:spMkLst>
            <pc:docMk/>
            <pc:sldMk cId="742235391" sldId="2806"/>
            <ac:spMk id="12" creationId="{7A3FF705-E7C3-4006-A990-052ACEC3F327}"/>
          </ac:spMkLst>
        </pc:spChg>
        <pc:spChg chg="mod">
          <ac:chgData name="Stapel, Stephan" userId="4830af1d-78b3-4e6c-b8fa-2becfbf25f4c" providerId="ADAL" clId="{A207814F-74B0-4056-A2ED-E73A07B0306C}" dt="2020-05-29T10:29:50.633" v="9970" actId="790"/>
          <ac:spMkLst>
            <pc:docMk/>
            <pc:sldMk cId="742235391" sldId="2806"/>
            <ac:spMk id="13" creationId="{DFE22126-398C-4E44-9CD3-7CB23E637798}"/>
          </ac:spMkLst>
        </pc:spChg>
        <pc:spChg chg="mod">
          <ac:chgData name="Stapel, Stephan" userId="4830af1d-78b3-4e6c-b8fa-2becfbf25f4c" providerId="ADAL" clId="{A207814F-74B0-4056-A2ED-E73A07B0306C}" dt="2020-05-29T10:29:50.633" v="9970" actId="790"/>
          <ac:spMkLst>
            <pc:docMk/>
            <pc:sldMk cId="742235391" sldId="2806"/>
            <ac:spMk id="14" creationId="{2E04FFCF-5995-4561-873F-B86080684187}"/>
          </ac:spMkLst>
        </pc:spChg>
        <pc:spChg chg="mod">
          <ac:chgData name="Stapel, Stephan" userId="4830af1d-78b3-4e6c-b8fa-2becfbf25f4c" providerId="ADAL" clId="{A207814F-74B0-4056-A2ED-E73A07B0306C}" dt="2020-05-29T10:29:50.633" v="9970" actId="790"/>
          <ac:spMkLst>
            <pc:docMk/>
            <pc:sldMk cId="742235391" sldId="2806"/>
            <ac:spMk id="15" creationId="{39CA6A3F-D3BA-490D-AA8A-64D44210D1FC}"/>
          </ac:spMkLst>
        </pc:spChg>
        <pc:spChg chg="mod">
          <ac:chgData name="Stapel, Stephan" userId="4830af1d-78b3-4e6c-b8fa-2becfbf25f4c" providerId="ADAL" clId="{A207814F-74B0-4056-A2ED-E73A07B0306C}" dt="2020-05-29T10:29:50.633" v="9970" actId="790"/>
          <ac:spMkLst>
            <pc:docMk/>
            <pc:sldMk cId="742235391" sldId="2806"/>
            <ac:spMk id="16" creationId="{0D19969F-773E-479F-8141-2BF1E9812B9A}"/>
          </ac:spMkLst>
        </pc:spChg>
        <pc:spChg chg="mod">
          <ac:chgData name="Stapel, Stephan" userId="4830af1d-78b3-4e6c-b8fa-2becfbf25f4c" providerId="ADAL" clId="{A207814F-74B0-4056-A2ED-E73A07B0306C}" dt="2020-05-29T10:29:50.633" v="9970" actId="790"/>
          <ac:spMkLst>
            <pc:docMk/>
            <pc:sldMk cId="742235391" sldId="2806"/>
            <ac:spMk id="17" creationId="{2194105D-E4D8-419F-B24F-776ADDC97E6A}"/>
          </ac:spMkLst>
        </pc:spChg>
      </pc:sldChg>
      <pc:sldChg chg="modSp add">
        <pc:chgData name="Stapel, Stephan" userId="4830af1d-78b3-4e6c-b8fa-2becfbf25f4c" providerId="ADAL" clId="{A207814F-74B0-4056-A2ED-E73A07B0306C}" dt="2020-06-01T16:38:17.196" v="10042" actId="20577"/>
        <pc:sldMkLst>
          <pc:docMk/>
          <pc:sldMk cId="21851478" sldId="2807"/>
        </pc:sldMkLst>
        <pc:spChg chg="mod">
          <ac:chgData name="Stapel, Stephan" userId="4830af1d-78b3-4e6c-b8fa-2becfbf25f4c" providerId="ADAL" clId="{A207814F-74B0-4056-A2ED-E73A07B0306C}" dt="2020-05-29T10:29:03.209" v="9966" actId="790"/>
          <ac:spMkLst>
            <pc:docMk/>
            <pc:sldMk cId="21851478" sldId="2807"/>
            <ac:spMk id="2" creationId="{338788B6-E43F-4736-9288-DA5AFEB750A2}"/>
          </ac:spMkLst>
        </pc:spChg>
        <pc:spChg chg="mod">
          <ac:chgData name="Stapel, Stephan" userId="4830af1d-78b3-4e6c-b8fa-2becfbf25f4c" providerId="ADAL" clId="{A207814F-74B0-4056-A2ED-E73A07B0306C}" dt="2020-05-29T10:29:03.209" v="9966" actId="790"/>
          <ac:spMkLst>
            <pc:docMk/>
            <pc:sldMk cId="21851478" sldId="2807"/>
            <ac:spMk id="3" creationId="{A07ECCAD-9044-466D-A33A-5FC734D9E6AA}"/>
          </ac:spMkLst>
        </pc:spChg>
        <pc:spChg chg="mod">
          <ac:chgData name="Stapel, Stephan" userId="4830af1d-78b3-4e6c-b8fa-2becfbf25f4c" providerId="ADAL" clId="{A207814F-74B0-4056-A2ED-E73A07B0306C}" dt="2020-06-01T16:38:17.196" v="10042" actId="20577"/>
          <ac:spMkLst>
            <pc:docMk/>
            <pc:sldMk cId="21851478" sldId="2807"/>
            <ac:spMk id="4" creationId="{D5368553-588F-497D-9E63-FBC8A5A5EBB9}"/>
          </ac:spMkLst>
        </pc:spChg>
      </pc:sldChg>
      <pc:sldChg chg="addSp delSp modSp add">
        <pc:chgData name="Stapel, Stephan" userId="4830af1d-78b3-4e6c-b8fa-2becfbf25f4c" providerId="ADAL" clId="{A207814F-74B0-4056-A2ED-E73A07B0306C}" dt="2020-05-29T10:29:33.465" v="9969" actId="790"/>
        <pc:sldMkLst>
          <pc:docMk/>
          <pc:sldMk cId="31473912" sldId="2808"/>
        </pc:sldMkLst>
        <pc:spChg chg="mod">
          <ac:chgData name="Stapel, Stephan" userId="4830af1d-78b3-4e6c-b8fa-2becfbf25f4c" providerId="ADAL" clId="{A207814F-74B0-4056-A2ED-E73A07B0306C}" dt="2020-05-29T10:29:33.465" v="9969" actId="790"/>
          <ac:spMkLst>
            <pc:docMk/>
            <pc:sldMk cId="31473912" sldId="2808"/>
            <ac:spMk id="2" creationId="{338788B6-E43F-4736-9288-DA5AFEB750A2}"/>
          </ac:spMkLst>
        </pc:spChg>
        <pc:spChg chg="mod">
          <ac:chgData name="Stapel, Stephan" userId="4830af1d-78b3-4e6c-b8fa-2becfbf25f4c" providerId="ADAL" clId="{A207814F-74B0-4056-A2ED-E73A07B0306C}" dt="2020-05-29T10:29:33.465" v="9969" actId="790"/>
          <ac:spMkLst>
            <pc:docMk/>
            <pc:sldMk cId="31473912" sldId="2808"/>
            <ac:spMk id="3" creationId="{A07ECCAD-9044-466D-A33A-5FC734D9E6AA}"/>
          </ac:spMkLst>
        </pc:spChg>
        <pc:spChg chg="mod">
          <ac:chgData name="Stapel, Stephan" userId="4830af1d-78b3-4e6c-b8fa-2becfbf25f4c" providerId="ADAL" clId="{A207814F-74B0-4056-A2ED-E73A07B0306C}" dt="2020-05-29T10:29:33.465" v="9969" actId="790"/>
          <ac:spMkLst>
            <pc:docMk/>
            <pc:sldMk cId="31473912" sldId="2808"/>
            <ac:spMk id="4" creationId="{D5368553-588F-497D-9E63-FBC8A5A5EBB9}"/>
          </ac:spMkLst>
        </pc:spChg>
        <pc:picChg chg="add del">
          <ac:chgData name="Stapel, Stephan" userId="4830af1d-78b3-4e6c-b8fa-2becfbf25f4c" providerId="ADAL" clId="{A207814F-74B0-4056-A2ED-E73A07B0306C}" dt="2020-05-28T22:37:58.897" v="8216"/>
          <ac:picMkLst>
            <pc:docMk/>
            <pc:sldMk cId="31473912" sldId="2808"/>
            <ac:picMk id="5" creationId="{FDEA4348-4A34-45D6-B301-297456959C8B}"/>
          </ac:picMkLst>
        </pc:picChg>
      </pc:sldChg>
      <pc:sldChg chg="addSp delSp modSp add">
        <pc:chgData name="Stapel, Stephan" userId="4830af1d-78b3-4e6c-b8fa-2becfbf25f4c" providerId="ADAL" clId="{A207814F-74B0-4056-A2ED-E73A07B0306C}" dt="2020-05-29T10:33:06.057" v="9994" actId="20577"/>
        <pc:sldMkLst>
          <pc:docMk/>
          <pc:sldMk cId="2269975922" sldId="2809"/>
        </pc:sldMkLst>
        <pc:spChg chg="mod">
          <ac:chgData name="Stapel, Stephan" userId="4830af1d-78b3-4e6c-b8fa-2becfbf25f4c" providerId="ADAL" clId="{A207814F-74B0-4056-A2ED-E73A07B0306C}" dt="2020-05-29T10:29:14.661" v="9967" actId="790"/>
          <ac:spMkLst>
            <pc:docMk/>
            <pc:sldMk cId="2269975922" sldId="2809"/>
            <ac:spMk id="2" creationId="{E079CDB4-E374-4026-98D6-5C215A2044F4}"/>
          </ac:spMkLst>
        </pc:spChg>
        <pc:spChg chg="mod">
          <ac:chgData name="Stapel, Stephan" userId="4830af1d-78b3-4e6c-b8fa-2becfbf25f4c" providerId="ADAL" clId="{A207814F-74B0-4056-A2ED-E73A07B0306C}" dt="2020-05-29T10:29:14.661" v="9967" actId="790"/>
          <ac:spMkLst>
            <pc:docMk/>
            <pc:sldMk cId="2269975922" sldId="2809"/>
            <ac:spMk id="3" creationId="{F7C0BD8A-CB72-4AFC-BAA1-2651E112AFF0}"/>
          </ac:spMkLst>
        </pc:spChg>
        <pc:spChg chg="del">
          <ac:chgData name="Stapel, Stephan" userId="4830af1d-78b3-4e6c-b8fa-2becfbf25f4c" providerId="ADAL" clId="{A207814F-74B0-4056-A2ED-E73A07B0306C}" dt="2020-05-28T22:14:08.733" v="5377" actId="478"/>
          <ac:spMkLst>
            <pc:docMk/>
            <pc:sldMk cId="2269975922" sldId="2809"/>
            <ac:spMk id="4" creationId="{50B24903-C268-484B-A3BE-4D4BF1B74786}"/>
          </ac:spMkLst>
        </pc:spChg>
        <pc:spChg chg="del">
          <ac:chgData name="Stapel, Stephan" userId="4830af1d-78b3-4e6c-b8fa-2becfbf25f4c" providerId="ADAL" clId="{A207814F-74B0-4056-A2ED-E73A07B0306C}" dt="2020-05-28T22:14:15.288" v="5378" actId="478"/>
          <ac:spMkLst>
            <pc:docMk/>
            <pc:sldMk cId="2269975922" sldId="2809"/>
            <ac:spMk id="5" creationId="{F841B99E-902B-4EC1-ACA9-6CC4EB8404B9}"/>
          </ac:spMkLst>
        </pc:spChg>
        <pc:spChg chg="mod">
          <ac:chgData name="Stapel, Stephan" userId="4830af1d-78b3-4e6c-b8fa-2becfbf25f4c" providerId="ADAL" clId="{A207814F-74B0-4056-A2ED-E73A07B0306C}" dt="2020-05-29T10:29:14.661" v="9967" actId="790"/>
          <ac:spMkLst>
            <pc:docMk/>
            <pc:sldMk cId="2269975922" sldId="2809"/>
            <ac:spMk id="6" creationId="{397EBC6E-DAA9-491C-ADC5-BB11DEC5EFE2}"/>
          </ac:spMkLst>
        </pc:spChg>
        <pc:spChg chg="mod">
          <ac:chgData name="Stapel, Stephan" userId="4830af1d-78b3-4e6c-b8fa-2becfbf25f4c" providerId="ADAL" clId="{A207814F-74B0-4056-A2ED-E73A07B0306C}" dt="2020-05-29T10:29:14.661" v="9967" actId="790"/>
          <ac:spMkLst>
            <pc:docMk/>
            <pc:sldMk cId="2269975922" sldId="2809"/>
            <ac:spMk id="7" creationId="{5CD210A5-7486-467E-BA6C-99A54AC24C9A}"/>
          </ac:spMkLst>
        </pc:spChg>
        <pc:spChg chg="del">
          <ac:chgData name="Stapel, Stephan" userId="4830af1d-78b3-4e6c-b8fa-2becfbf25f4c" providerId="ADAL" clId="{A207814F-74B0-4056-A2ED-E73A07B0306C}" dt="2020-05-28T22:14:17.034" v="5379" actId="478"/>
          <ac:spMkLst>
            <pc:docMk/>
            <pc:sldMk cId="2269975922" sldId="2809"/>
            <ac:spMk id="8" creationId="{3CE0A59D-DEA6-4FDD-9C62-626D122428DB}"/>
          </ac:spMkLst>
        </pc:spChg>
        <pc:spChg chg="del">
          <ac:chgData name="Stapel, Stephan" userId="4830af1d-78b3-4e6c-b8fa-2becfbf25f4c" providerId="ADAL" clId="{A207814F-74B0-4056-A2ED-E73A07B0306C}" dt="2020-05-28T22:14:15.288" v="5378" actId="478"/>
          <ac:spMkLst>
            <pc:docMk/>
            <pc:sldMk cId="2269975922" sldId="2809"/>
            <ac:spMk id="9" creationId="{B1C47388-46FB-4ADD-932C-5099A375B6A2}"/>
          </ac:spMkLst>
        </pc:spChg>
        <pc:spChg chg="mod">
          <ac:chgData name="Stapel, Stephan" userId="4830af1d-78b3-4e6c-b8fa-2becfbf25f4c" providerId="ADAL" clId="{A207814F-74B0-4056-A2ED-E73A07B0306C}" dt="2020-05-29T10:29:14.661" v="9967" actId="790"/>
          <ac:spMkLst>
            <pc:docMk/>
            <pc:sldMk cId="2269975922" sldId="2809"/>
            <ac:spMk id="10" creationId="{C47D3D4A-DCD9-497F-A17D-471D487747E8}"/>
          </ac:spMkLst>
        </pc:spChg>
        <pc:spChg chg="mod">
          <ac:chgData name="Stapel, Stephan" userId="4830af1d-78b3-4e6c-b8fa-2becfbf25f4c" providerId="ADAL" clId="{A207814F-74B0-4056-A2ED-E73A07B0306C}" dt="2020-05-29T10:33:06.057" v="9994" actId="20577"/>
          <ac:spMkLst>
            <pc:docMk/>
            <pc:sldMk cId="2269975922" sldId="2809"/>
            <ac:spMk id="11" creationId="{94AD42E6-1CA6-443D-97FB-F35D5482C822}"/>
          </ac:spMkLst>
        </pc:spChg>
        <pc:spChg chg="del">
          <ac:chgData name="Stapel, Stephan" userId="4830af1d-78b3-4e6c-b8fa-2becfbf25f4c" providerId="ADAL" clId="{A207814F-74B0-4056-A2ED-E73A07B0306C}" dt="2020-05-28T22:14:17.034" v="5379" actId="478"/>
          <ac:spMkLst>
            <pc:docMk/>
            <pc:sldMk cId="2269975922" sldId="2809"/>
            <ac:spMk id="12" creationId="{7A3FF705-E7C3-4006-A990-052ACEC3F327}"/>
          </ac:spMkLst>
        </pc:spChg>
        <pc:spChg chg="del">
          <ac:chgData name="Stapel, Stephan" userId="4830af1d-78b3-4e6c-b8fa-2becfbf25f4c" providerId="ADAL" clId="{A207814F-74B0-4056-A2ED-E73A07B0306C}" dt="2020-05-28T22:14:15.288" v="5378" actId="478"/>
          <ac:spMkLst>
            <pc:docMk/>
            <pc:sldMk cId="2269975922" sldId="2809"/>
            <ac:spMk id="13" creationId="{DFE22126-398C-4E44-9CD3-7CB23E637798}"/>
          </ac:spMkLst>
        </pc:spChg>
        <pc:spChg chg="mod">
          <ac:chgData name="Stapel, Stephan" userId="4830af1d-78b3-4e6c-b8fa-2becfbf25f4c" providerId="ADAL" clId="{A207814F-74B0-4056-A2ED-E73A07B0306C}" dt="2020-05-29T10:29:14.661" v="9967" actId="790"/>
          <ac:spMkLst>
            <pc:docMk/>
            <pc:sldMk cId="2269975922" sldId="2809"/>
            <ac:spMk id="14" creationId="{2E04FFCF-5995-4561-873F-B86080684187}"/>
          </ac:spMkLst>
        </pc:spChg>
        <pc:spChg chg="mod">
          <ac:chgData name="Stapel, Stephan" userId="4830af1d-78b3-4e6c-b8fa-2becfbf25f4c" providerId="ADAL" clId="{A207814F-74B0-4056-A2ED-E73A07B0306C}" dt="2020-05-29T10:29:14.661" v="9967" actId="790"/>
          <ac:spMkLst>
            <pc:docMk/>
            <pc:sldMk cId="2269975922" sldId="2809"/>
            <ac:spMk id="15" creationId="{39CA6A3F-D3BA-490D-AA8A-64D44210D1FC}"/>
          </ac:spMkLst>
        </pc:spChg>
        <pc:spChg chg="del">
          <ac:chgData name="Stapel, Stephan" userId="4830af1d-78b3-4e6c-b8fa-2becfbf25f4c" providerId="ADAL" clId="{A207814F-74B0-4056-A2ED-E73A07B0306C}" dt="2020-05-28T22:14:17.034" v="5379" actId="478"/>
          <ac:spMkLst>
            <pc:docMk/>
            <pc:sldMk cId="2269975922" sldId="2809"/>
            <ac:spMk id="16" creationId="{0D19969F-773E-479F-8141-2BF1E9812B9A}"/>
          </ac:spMkLst>
        </pc:spChg>
        <pc:spChg chg="del">
          <ac:chgData name="Stapel, Stephan" userId="4830af1d-78b3-4e6c-b8fa-2becfbf25f4c" providerId="ADAL" clId="{A207814F-74B0-4056-A2ED-E73A07B0306C}" dt="2020-05-28T22:14:46.553" v="5414" actId="478"/>
          <ac:spMkLst>
            <pc:docMk/>
            <pc:sldMk cId="2269975922" sldId="2809"/>
            <ac:spMk id="17" creationId="{2194105D-E4D8-419F-B24F-776ADDC97E6A}"/>
          </ac:spMkLst>
        </pc:spChg>
        <pc:spChg chg="add del mod">
          <ac:chgData name="Stapel, Stephan" userId="4830af1d-78b3-4e6c-b8fa-2becfbf25f4c" providerId="ADAL" clId="{A207814F-74B0-4056-A2ED-E73A07B0306C}" dt="2020-05-28T22:14:21.973" v="5380" actId="478"/>
          <ac:spMkLst>
            <pc:docMk/>
            <pc:sldMk cId="2269975922" sldId="2809"/>
            <ac:spMk id="19" creationId="{566C7FE0-A878-4A61-92FB-EDB05FB40D80}"/>
          </ac:spMkLst>
        </pc:spChg>
        <pc:spChg chg="add mod">
          <ac:chgData name="Stapel, Stephan" userId="4830af1d-78b3-4e6c-b8fa-2becfbf25f4c" providerId="ADAL" clId="{A207814F-74B0-4056-A2ED-E73A07B0306C}" dt="2020-05-29T10:29:14.661" v="9967" actId="790"/>
          <ac:spMkLst>
            <pc:docMk/>
            <pc:sldMk cId="2269975922" sldId="2809"/>
            <ac:spMk id="20" creationId="{F8B0E9F1-B6A8-4851-9A46-8DA37DFC17AD}"/>
          </ac:spMkLst>
        </pc:spChg>
        <pc:spChg chg="add mod">
          <ac:chgData name="Stapel, Stephan" userId="4830af1d-78b3-4e6c-b8fa-2becfbf25f4c" providerId="ADAL" clId="{A207814F-74B0-4056-A2ED-E73A07B0306C}" dt="2020-05-29T10:29:14.661" v="9967" actId="790"/>
          <ac:spMkLst>
            <pc:docMk/>
            <pc:sldMk cId="2269975922" sldId="2809"/>
            <ac:spMk id="21" creationId="{56FDFEFF-A8AF-4AE1-952F-25BB5193A93D}"/>
          </ac:spMkLst>
        </pc:spChg>
        <pc:spChg chg="add mod">
          <ac:chgData name="Stapel, Stephan" userId="4830af1d-78b3-4e6c-b8fa-2becfbf25f4c" providerId="ADAL" clId="{A207814F-74B0-4056-A2ED-E73A07B0306C}" dt="2020-05-29T10:29:14.661" v="9967" actId="790"/>
          <ac:spMkLst>
            <pc:docMk/>
            <pc:sldMk cId="2269975922" sldId="2809"/>
            <ac:spMk id="22" creationId="{F28D1E72-E6CB-4890-9F01-9A3946B17A69}"/>
          </ac:spMkLst>
        </pc:spChg>
      </pc:sldChg>
      <pc:sldChg chg="modSp add ord">
        <pc:chgData name="Stapel, Stephan" userId="4830af1d-78b3-4e6c-b8fa-2becfbf25f4c" providerId="ADAL" clId="{A207814F-74B0-4056-A2ED-E73A07B0306C}" dt="2020-05-29T10:27:49.671" v="9959" actId="790"/>
        <pc:sldMkLst>
          <pc:docMk/>
          <pc:sldMk cId="1655562382" sldId="2810"/>
        </pc:sldMkLst>
        <pc:spChg chg="mod">
          <ac:chgData name="Stapel, Stephan" userId="4830af1d-78b3-4e6c-b8fa-2becfbf25f4c" providerId="ADAL" clId="{A207814F-74B0-4056-A2ED-E73A07B0306C}" dt="2020-05-29T10:27:49.671" v="9959" actId="790"/>
          <ac:spMkLst>
            <pc:docMk/>
            <pc:sldMk cId="1655562382" sldId="2810"/>
            <ac:spMk id="2" creationId="{73E4A998-7E8F-4C73-B638-2AD602E74401}"/>
          </ac:spMkLst>
        </pc:spChg>
        <pc:spChg chg="mod">
          <ac:chgData name="Stapel, Stephan" userId="4830af1d-78b3-4e6c-b8fa-2becfbf25f4c" providerId="ADAL" clId="{A207814F-74B0-4056-A2ED-E73A07B0306C}" dt="2020-05-29T10:27:49.671" v="9959" actId="790"/>
          <ac:spMkLst>
            <pc:docMk/>
            <pc:sldMk cId="1655562382" sldId="2810"/>
            <ac:spMk id="3" creationId="{8B70788E-B6D7-4F4F-8BE4-4747D36CC8BE}"/>
          </ac:spMkLst>
        </pc:spChg>
        <pc:spChg chg="mod">
          <ac:chgData name="Stapel, Stephan" userId="4830af1d-78b3-4e6c-b8fa-2becfbf25f4c" providerId="ADAL" clId="{A207814F-74B0-4056-A2ED-E73A07B0306C}" dt="2020-05-29T10:27:49.671" v="9959" actId="790"/>
          <ac:spMkLst>
            <pc:docMk/>
            <pc:sldMk cId="1655562382" sldId="2810"/>
            <ac:spMk id="5" creationId="{7FB66692-C510-47D8-9323-098C2E1AA07E}"/>
          </ac:spMkLst>
        </pc:spChg>
        <pc:spChg chg="mod">
          <ac:chgData name="Stapel, Stephan" userId="4830af1d-78b3-4e6c-b8fa-2becfbf25f4c" providerId="ADAL" clId="{A207814F-74B0-4056-A2ED-E73A07B0306C}" dt="2020-05-29T10:27:49.671" v="9959" actId="790"/>
          <ac:spMkLst>
            <pc:docMk/>
            <pc:sldMk cId="1655562382" sldId="2810"/>
            <ac:spMk id="7" creationId="{7705C9C0-2F33-4AA9-B94D-10237032753B}"/>
          </ac:spMkLst>
        </pc:spChg>
        <pc:spChg chg="mod">
          <ac:chgData name="Stapel, Stephan" userId="4830af1d-78b3-4e6c-b8fa-2becfbf25f4c" providerId="ADAL" clId="{A207814F-74B0-4056-A2ED-E73A07B0306C}" dt="2020-05-29T10:27:49.671" v="9959" actId="790"/>
          <ac:spMkLst>
            <pc:docMk/>
            <pc:sldMk cId="1655562382" sldId="2810"/>
            <ac:spMk id="8" creationId="{00AAA7D4-7F30-4F7E-93AD-E29983620743}"/>
          </ac:spMkLst>
        </pc:spChg>
        <pc:spChg chg="mod">
          <ac:chgData name="Stapel, Stephan" userId="4830af1d-78b3-4e6c-b8fa-2becfbf25f4c" providerId="ADAL" clId="{A207814F-74B0-4056-A2ED-E73A07B0306C}" dt="2020-05-29T10:27:49.671" v="9959" actId="790"/>
          <ac:spMkLst>
            <pc:docMk/>
            <pc:sldMk cId="1655562382" sldId="2810"/>
            <ac:spMk id="9" creationId="{485304C4-CA6A-4CE0-9D3C-751250515E5C}"/>
          </ac:spMkLst>
        </pc:spChg>
        <pc:spChg chg="mod">
          <ac:chgData name="Stapel, Stephan" userId="4830af1d-78b3-4e6c-b8fa-2becfbf25f4c" providerId="ADAL" clId="{A207814F-74B0-4056-A2ED-E73A07B0306C}" dt="2020-05-29T10:27:49.671" v="9959" actId="790"/>
          <ac:spMkLst>
            <pc:docMk/>
            <pc:sldMk cId="1655562382" sldId="2810"/>
            <ac:spMk id="10" creationId="{16B5F6A5-3232-4801-80D8-49D67DFE1EE6}"/>
          </ac:spMkLst>
        </pc:spChg>
        <pc:spChg chg="mod">
          <ac:chgData name="Stapel, Stephan" userId="4830af1d-78b3-4e6c-b8fa-2becfbf25f4c" providerId="ADAL" clId="{A207814F-74B0-4056-A2ED-E73A07B0306C}" dt="2020-05-29T10:27:49.671" v="9959" actId="790"/>
          <ac:spMkLst>
            <pc:docMk/>
            <pc:sldMk cId="1655562382" sldId="2810"/>
            <ac:spMk id="11" creationId="{8F160DAA-F038-4E60-9685-A6F919E712BA}"/>
          </ac:spMkLst>
        </pc:spChg>
        <pc:spChg chg="mod">
          <ac:chgData name="Stapel, Stephan" userId="4830af1d-78b3-4e6c-b8fa-2becfbf25f4c" providerId="ADAL" clId="{A207814F-74B0-4056-A2ED-E73A07B0306C}" dt="2020-05-29T10:27:49.671" v="9959" actId="790"/>
          <ac:spMkLst>
            <pc:docMk/>
            <pc:sldMk cId="1655562382" sldId="2810"/>
            <ac:spMk id="12" creationId="{AA0BD78E-4C04-4216-977E-61028CC363C7}"/>
          </ac:spMkLst>
        </pc:spChg>
        <pc:spChg chg="mod">
          <ac:chgData name="Stapel, Stephan" userId="4830af1d-78b3-4e6c-b8fa-2becfbf25f4c" providerId="ADAL" clId="{A207814F-74B0-4056-A2ED-E73A07B0306C}" dt="2020-05-29T10:27:49.671" v="9959" actId="790"/>
          <ac:spMkLst>
            <pc:docMk/>
            <pc:sldMk cId="1655562382" sldId="2810"/>
            <ac:spMk id="13" creationId="{0D74FD27-1A85-4FC6-AF4D-F0D38733EB0D}"/>
          </ac:spMkLst>
        </pc:spChg>
        <pc:spChg chg="mod">
          <ac:chgData name="Stapel, Stephan" userId="4830af1d-78b3-4e6c-b8fa-2becfbf25f4c" providerId="ADAL" clId="{A207814F-74B0-4056-A2ED-E73A07B0306C}" dt="2020-05-29T10:27:49.671" v="9959" actId="790"/>
          <ac:spMkLst>
            <pc:docMk/>
            <pc:sldMk cId="1655562382" sldId="2810"/>
            <ac:spMk id="14" creationId="{B311453F-C592-46E4-AB06-CC4DFC2FDE66}"/>
          </ac:spMkLst>
        </pc:spChg>
        <pc:spChg chg="mod">
          <ac:chgData name="Stapel, Stephan" userId="4830af1d-78b3-4e6c-b8fa-2becfbf25f4c" providerId="ADAL" clId="{A207814F-74B0-4056-A2ED-E73A07B0306C}" dt="2020-05-29T10:27:49.671" v="9959" actId="790"/>
          <ac:spMkLst>
            <pc:docMk/>
            <pc:sldMk cId="1655562382" sldId="2810"/>
            <ac:spMk id="15" creationId="{3380C03E-F369-46E9-A9C6-864408F2557A}"/>
          </ac:spMkLst>
        </pc:spChg>
        <pc:spChg chg="mod">
          <ac:chgData name="Stapel, Stephan" userId="4830af1d-78b3-4e6c-b8fa-2becfbf25f4c" providerId="ADAL" clId="{A207814F-74B0-4056-A2ED-E73A07B0306C}" dt="2020-05-29T10:27:49.671" v="9959" actId="790"/>
          <ac:spMkLst>
            <pc:docMk/>
            <pc:sldMk cId="1655562382" sldId="2810"/>
            <ac:spMk id="16" creationId="{333A8429-AB99-4456-B7B7-7B822B0526E2}"/>
          </ac:spMkLst>
        </pc:spChg>
        <pc:spChg chg="mod">
          <ac:chgData name="Stapel, Stephan" userId="4830af1d-78b3-4e6c-b8fa-2becfbf25f4c" providerId="ADAL" clId="{A207814F-74B0-4056-A2ED-E73A07B0306C}" dt="2020-05-29T10:27:49.671" v="9959" actId="790"/>
          <ac:spMkLst>
            <pc:docMk/>
            <pc:sldMk cId="1655562382" sldId="2810"/>
            <ac:spMk id="17" creationId="{41546CE3-9896-4B92-9B53-183DC2FA6F71}"/>
          </ac:spMkLst>
        </pc:spChg>
        <pc:spChg chg="mod">
          <ac:chgData name="Stapel, Stephan" userId="4830af1d-78b3-4e6c-b8fa-2becfbf25f4c" providerId="ADAL" clId="{A207814F-74B0-4056-A2ED-E73A07B0306C}" dt="2020-05-29T10:27:49.671" v="9959" actId="790"/>
          <ac:spMkLst>
            <pc:docMk/>
            <pc:sldMk cId="1655562382" sldId="2810"/>
            <ac:spMk id="18" creationId="{EAE0E2E2-E3A4-49D0-BB78-6954BFCC7BB9}"/>
          </ac:spMkLst>
        </pc:spChg>
        <pc:spChg chg="mod">
          <ac:chgData name="Stapel, Stephan" userId="4830af1d-78b3-4e6c-b8fa-2becfbf25f4c" providerId="ADAL" clId="{A207814F-74B0-4056-A2ED-E73A07B0306C}" dt="2020-05-29T10:27:49.671" v="9959" actId="790"/>
          <ac:spMkLst>
            <pc:docMk/>
            <pc:sldMk cId="1655562382" sldId="2810"/>
            <ac:spMk id="19" creationId="{29319A95-A713-4CC6-8280-8EA64A56DBDB}"/>
          </ac:spMkLst>
        </pc:spChg>
        <pc:spChg chg="mod">
          <ac:chgData name="Stapel, Stephan" userId="4830af1d-78b3-4e6c-b8fa-2becfbf25f4c" providerId="ADAL" clId="{A207814F-74B0-4056-A2ED-E73A07B0306C}" dt="2020-05-29T10:27:49.671" v="9959" actId="790"/>
          <ac:spMkLst>
            <pc:docMk/>
            <pc:sldMk cId="1655562382" sldId="2810"/>
            <ac:spMk id="20" creationId="{DE70EEF3-0026-4B27-88A9-3739877ABFB0}"/>
          </ac:spMkLst>
        </pc:spChg>
        <pc:spChg chg="mod">
          <ac:chgData name="Stapel, Stephan" userId="4830af1d-78b3-4e6c-b8fa-2becfbf25f4c" providerId="ADAL" clId="{A207814F-74B0-4056-A2ED-E73A07B0306C}" dt="2020-05-29T10:27:49.671" v="9959" actId="790"/>
          <ac:spMkLst>
            <pc:docMk/>
            <pc:sldMk cId="1655562382" sldId="2810"/>
            <ac:spMk id="21" creationId="{A58769BA-6B3D-4C50-AB7B-364852B42F4F}"/>
          </ac:spMkLst>
        </pc:spChg>
        <pc:spChg chg="mod">
          <ac:chgData name="Stapel, Stephan" userId="4830af1d-78b3-4e6c-b8fa-2becfbf25f4c" providerId="ADAL" clId="{A207814F-74B0-4056-A2ED-E73A07B0306C}" dt="2020-05-29T10:27:49.671" v="9959" actId="790"/>
          <ac:spMkLst>
            <pc:docMk/>
            <pc:sldMk cId="1655562382" sldId="2810"/>
            <ac:spMk id="22" creationId="{3FB02495-0B24-42DD-A632-E316EA4E2975}"/>
          </ac:spMkLst>
        </pc:spChg>
        <pc:spChg chg="mod">
          <ac:chgData name="Stapel, Stephan" userId="4830af1d-78b3-4e6c-b8fa-2becfbf25f4c" providerId="ADAL" clId="{A207814F-74B0-4056-A2ED-E73A07B0306C}" dt="2020-05-29T10:27:49.671" v="9959" actId="790"/>
          <ac:spMkLst>
            <pc:docMk/>
            <pc:sldMk cId="1655562382" sldId="2810"/>
            <ac:spMk id="23" creationId="{96FA92DD-3C07-460F-9E03-1C9EB7F53358}"/>
          </ac:spMkLst>
        </pc:spChg>
        <pc:spChg chg="mod">
          <ac:chgData name="Stapel, Stephan" userId="4830af1d-78b3-4e6c-b8fa-2becfbf25f4c" providerId="ADAL" clId="{A207814F-74B0-4056-A2ED-E73A07B0306C}" dt="2020-05-29T10:27:49.671" v="9959" actId="790"/>
          <ac:spMkLst>
            <pc:docMk/>
            <pc:sldMk cId="1655562382" sldId="2810"/>
            <ac:spMk id="24" creationId="{D1F337EC-45B2-4D20-806B-6D4854DDB96D}"/>
          </ac:spMkLst>
        </pc:spChg>
        <pc:spChg chg="mod">
          <ac:chgData name="Stapel, Stephan" userId="4830af1d-78b3-4e6c-b8fa-2becfbf25f4c" providerId="ADAL" clId="{A207814F-74B0-4056-A2ED-E73A07B0306C}" dt="2020-05-29T10:27:49.671" v="9959" actId="790"/>
          <ac:spMkLst>
            <pc:docMk/>
            <pc:sldMk cId="1655562382" sldId="2810"/>
            <ac:spMk id="25" creationId="{90CC8D58-1DC6-4B2C-8563-83F5A2BD658C}"/>
          </ac:spMkLst>
        </pc:spChg>
        <pc:spChg chg="mod">
          <ac:chgData name="Stapel, Stephan" userId="4830af1d-78b3-4e6c-b8fa-2becfbf25f4c" providerId="ADAL" clId="{A207814F-74B0-4056-A2ED-E73A07B0306C}" dt="2020-05-29T10:27:49.671" v="9959" actId="790"/>
          <ac:spMkLst>
            <pc:docMk/>
            <pc:sldMk cId="1655562382" sldId="2810"/>
            <ac:spMk id="26" creationId="{8A8651CD-3724-4422-9B7B-8B68C4CD5488}"/>
          </ac:spMkLst>
        </pc:spChg>
        <pc:spChg chg="mod">
          <ac:chgData name="Stapel, Stephan" userId="4830af1d-78b3-4e6c-b8fa-2becfbf25f4c" providerId="ADAL" clId="{A207814F-74B0-4056-A2ED-E73A07B0306C}" dt="2020-05-29T10:27:49.671" v="9959" actId="790"/>
          <ac:spMkLst>
            <pc:docMk/>
            <pc:sldMk cId="1655562382" sldId="2810"/>
            <ac:spMk id="27" creationId="{E5F78844-8199-456D-96AA-6CF6453F57EC}"/>
          </ac:spMkLst>
        </pc:spChg>
        <pc:spChg chg="mod">
          <ac:chgData name="Stapel, Stephan" userId="4830af1d-78b3-4e6c-b8fa-2becfbf25f4c" providerId="ADAL" clId="{A207814F-74B0-4056-A2ED-E73A07B0306C}" dt="2020-05-29T10:27:49.671" v="9959" actId="790"/>
          <ac:spMkLst>
            <pc:docMk/>
            <pc:sldMk cId="1655562382" sldId="2810"/>
            <ac:spMk id="28" creationId="{4975E0F5-BF7E-4CD6-B359-269EA3F076FC}"/>
          </ac:spMkLst>
        </pc:spChg>
        <pc:spChg chg="mod">
          <ac:chgData name="Stapel, Stephan" userId="4830af1d-78b3-4e6c-b8fa-2becfbf25f4c" providerId="ADAL" clId="{A207814F-74B0-4056-A2ED-E73A07B0306C}" dt="2020-05-29T10:27:49.671" v="9959" actId="790"/>
          <ac:spMkLst>
            <pc:docMk/>
            <pc:sldMk cId="1655562382" sldId="2810"/>
            <ac:spMk id="29" creationId="{FCEE24BF-A46B-4BF8-B25D-7644E328FF90}"/>
          </ac:spMkLst>
        </pc:spChg>
      </pc:sldChg>
      <pc:sldChg chg="addSp modSp add">
        <pc:chgData name="Stapel, Stephan" userId="4830af1d-78b3-4e6c-b8fa-2becfbf25f4c" providerId="ADAL" clId="{A207814F-74B0-4056-A2ED-E73A07B0306C}" dt="2020-05-29T10:30:16.379" v="9973" actId="790"/>
        <pc:sldMkLst>
          <pc:docMk/>
          <pc:sldMk cId="3477264119" sldId="2811"/>
        </pc:sldMkLst>
        <pc:spChg chg="mod">
          <ac:chgData name="Stapel, Stephan" userId="4830af1d-78b3-4e6c-b8fa-2becfbf25f4c" providerId="ADAL" clId="{A207814F-74B0-4056-A2ED-E73A07B0306C}" dt="2020-05-29T10:30:16.379" v="9973" actId="790"/>
          <ac:spMkLst>
            <pc:docMk/>
            <pc:sldMk cId="3477264119" sldId="2811"/>
            <ac:spMk id="2" creationId="{C8711800-0C91-48BD-A071-8D3DA7D4CEA5}"/>
          </ac:spMkLst>
        </pc:spChg>
        <pc:spChg chg="mod">
          <ac:chgData name="Stapel, Stephan" userId="4830af1d-78b3-4e6c-b8fa-2becfbf25f4c" providerId="ADAL" clId="{A207814F-74B0-4056-A2ED-E73A07B0306C}" dt="2020-05-29T10:30:16.379" v="9973" actId="790"/>
          <ac:spMkLst>
            <pc:docMk/>
            <pc:sldMk cId="3477264119" sldId="2811"/>
            <ac:spMk id="3" creationId="{821E933E-2EFA-409F-AF4B-09E9671B7C42}"/>
          </ac:spMkLst>
        </pc:spChg>
        <pc:spChg chg="mod">
          <ac:chgData name="Stapel, Stephan" userId="4830af1d-78b3-4e6c-b8fa-2becfbf25f4c" providerId="ADAL" clId="{A207814F-74B0-4056-A2ED-E73A07B0306C}" dt="2020-05-29T10:30:16.379" v="9973" actId="790"/>
          <ac:spMkLst>
            <pc:docMk/>
            <pc:sldMk cId="3477264119" sldId="2811"/>
            <ac:spMk id="4" creationId="{9BE4B56D-74A6-4C32-B32A-3674156D3A4F}"/>
          </ac:spMkLst>
        </pc:spChg>
        <pc:picChg chg="add">
          <ac:chgData name="Stapel, Stephan" userId="4830af1d-78b3-4e6c-b8fa-2becfbf25f4c" providerId="ADAL" clId="{A207814F-74B0-4056-A2ED-E73A07B0306C}" dt="2020-05-28T22:38:01.577" v="8217"/>
          <ac:picMkLst>
            <pc:docMk/>
            <pc:sldMk cId="3477264119" sldId="2811"/>
            <ac:picMk id="5" creationId="{4A81F6FC-70C3-4078-AC9B-308AE0CF094D}"/>
          </ac:picMkLst>
        </pc:picChg>
      </pc:sldChg>
      <pc:sldChg chg="modSp add">
        <pc:chgData name="Stapel, Stephan" userId="4830af1d-78b3-4e6c-b8fa-2becfbf25f4c" providerId="ADAL" clId="{A207814F-74B0-4056-A2ED-E73A07B0306C}" dt="2020-06-01T16:39:01.540" v="10055" actId="20577"/>
        <pc:sldMkLst>
          <pc:docMk/>
          <pc:sldMk cId="3918544165" sldId="2812"/>
        </pc:sldMkLst>
        <pc:spChg chg="mod">
          <ac:chgData name="Stapel, Stephan" userId="4830af1d-78b3-4e6c-b8fa-2becfbf25f4c" providerId="ADAL" clId="{A207814F-74B0-4056-A2ED-E73A07B0306C}" dt="2020-05-29T10:26:55.293" v="9954" actId="790"/>
          <ac:spMkLst>
            <pc:docMk/>
            <pc:sldMk cId="3918544165" sldId="2812"/>
            <ac:spMk id="2" creationId="{3911644B-A7BD-4B31-B319-9A77814DB600}"/>
          </ac:spMkLst>
        </pc:spChg>
        <pc:spChg chg="mod">
          <ac:chgData name="Stapel, Stephan" userId="4830af1d-78b3-4e6c-b8fa-2becfbf25f4c" providerId="ADAL" clId="{A207814F-74B0-4056-A2ED-E73A07B0306C}" dt="2020-05-29T10:26:55.293" v="9954" actId="790"/>
          <ac:spMkLst>
            <pc:docMk/>
            <pc:sldMk cId="3918544165" sldId="2812"/>
            <ac:spMk id="3" creationId="{95CE7450-71C9-4AA9-A75C-FAFFCC7081D4}"/>
          </ac:spMkLst>
        </pc:spChg>
        <pc:spChg chg="mod">
          <ac:chgData name="Stapel, Stephan" userId="4830af1d-78b3-4e6c-b8fa-2becfbf25f4c" providerId="ADAL" clId="{A207814F-74B0-4056-A2ED-E73A07B0306C}" dt="2020-06-01T16:39:01.540" v="10055" actId="20577"/>
          <ac:spMkLst>
            <pc:docMk/>
            <pc:sldMk cId="3918544165" sldId="2812"/>
            <ac:spMk id="4" creationId="{194D3936-BFED-4541-BA0C-B7D9A696176D}"/>
          </ac:spMkLst>
        </pc:spChg>
      </pc:sldChg>
      <pc:sldMasterChg chg="delSldLayout">
        <pc:chgData name="Stapel, Stephan" userId="4830af1d-78b3-4e6c-b8fa-2becfbf25f4c" providerId="ADAL" clId="{A207814F-74B0-4056-A2ED-E73A07B0306C}" dt="2020-05-19T07:56:10.838" v="453" actId="2696"/>
        <pc:sldMasterMkLst>
          <pc:docMk/>
          <pc:sldMasterMk cId="2712246071" sldId="2147483648"/>
        </pc:sldMasterMkLst>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bwMode="gray">
          <a:xfrm>
            <a:off x="476676" y="9428588"/>
            <a:ext cx="1272579" cy="216305"/>
          </a:xfrm>
          <a:prstGeom prst="rect">
            <a:avLst/>
          </a:prstGeom>
        </p:spPr>
        <p:txBody>
          <a:bodyPr vert="horz" lIns="0" tIns="0" rIns="0" bIns="0" rtlCol="0" anchor="t"/>
          <a:lstStyle>
            <a:lvl1pPr algn="r">
              <a:defRPr sz="1200"/>
            </a:lvl1pPr>
          </a:lstStyle>
          <a:p>
            <a:pPr algn="l"/>
            <a:fld id="{65CF2310-A990-40EA-81FD-4EE03D709B6F}" type="slidenum">
              <a:rPr lang="de-DE" smtClean="0"/>
              <a:pPr algn="l"/>
              <a:t>‹Nr.›</a:t>
            </a:fld>
            <a:endParaRPr lang="de-DE"/>
          </a:p>
        </p:txBody>
      </p:sp>
      <p:pic>
        <p:nvPicPr>
          <p:cNvPr id="6" name="Grafik 5" descr="Hermes Logistik Gruppe Deutschland.png">
            <a:hlinkClick r:id="" action="ppaction://noaction"/>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gray">
          <a:xfrm>
            <a:off x="5049181" y="9419081"/>
            <a:ext cx="1344784" cy="22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83776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50850" y="976313"/>
            <a:ext cx="5956300" cy="3351212"/>
          </a:xfrm>
          <a:prstGeom prst="rect">
            <a:avLst/>
          </a:prstGeom>
          <a:noFill/>
          <a:ln w="12700">
            <a:solidFill>
              <a:prstClr val="black"/>
            </a:solidFill>
          </a:ln>
        </p:spPr>
        <p:txBody>
          <a:bodyPr vert="horz" lIns="91428" tIns="45714" rIns="91428" bIns="45714" rtlCol="0" anchor="ctr"/>
          <a:lstStyle/>
          <a:p>
            <a:endParaRPr lang="de-DE"/>
          </a:p>
        </p:txBody>
      </p:sp>
      <p:sp>
        <p:nvSpPr>
          <p:cNvPr id="5" name="Notizenplatzhalter 4"/>
          <p:cNvSpPr>
            <a:spLocks noGrp="1"/>
          </p:cNvSpPr>
          <p:nvPr>
            <p:ph type="body" sz="quarter" idx="3"/>
          </p:nvPr>
        </p:nvSpPr>
        <p:spPr bwMode="gray">
          <a:xfrm>
            <a:off x="476673" y="4777194"/>
            <a:ext cx="5904656" cy="3908614"/>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9" name="Grafik 8" descr="Hermes Logistik Gruppe Deutschland.png">
            <a:hlinkClick r:id="" action="ppaction://noaction"/>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gray">
          <a:xfrm>
            <a:off x="5049181" y="9419081"/>
            <a:ext cx="1344784" cy="22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liennummernplatzhalter 6"/>
          <p:cNvSpPr>
            <a:spLocks noGrp="1"/>
          </p:cNvSpPr>
          <p:nvPr>
            <p:ph type="sldNum" sz="quarter" idx="5"/>
          </p:nvPr>
        </p:nvSpPr>
        <p:spPr bwMode="gray">
          <a:xfrm>
            <a:off x="476674" y="9428588"/>
            <a:ext cx="1380591" cy="216305"/>
          </a:xfrm>
          <a:prstGeom prst="rect">
            <a:avLst/>
          </a:prstGeom>
        </p:spPr>
        <p:txBody>
          <a:bodyPr vert="horz" lIns="0" tIns="0" rIns="0" bIns="0" rtlCol="0" anchor="t"/>
          <a:lstStyle>
            <a:lvl1pPr>
              <a:defRPr lang="de-DE" sz="1200" smtClean="0"/>
            </a:lvl1pPr>
          </a:lstStyle>
          <a:p>
            <a:fld id="{38C6A46A-E380-42E5-BA0B-10331261D6AA}" type="slidenum">
              <a:rPr lang="de-DE" smtClean="0"/>
              <a:pPr/>
              <a:t>‹Nr.›</a:t>
            </a:fld>
            <a:endParaRPr lang="de-DE"/>
          </a:p>
        </p:txBody>
      </p:sp>
    </p:spTree>
    <p:extLst>
      <p:ext uri="{BB962C8B-B14F-4D97-AF65-F5344CB8AC3E}">
        <p14:creationId xmlns:p14="http://schemas.microsoft.com/office/powerpoint/2010/main" val="197763377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bg2"/>
        </a:solidFill>
        <a:latin typeface="+mn-lt"/>
        <a:ea typeface="+mn-ea"/>
        <a:cs typeface="+mn-cs"/>
      </a:defRPr>
    </a:lvl1pPr>
    <a:lvl2pPr marL="0" indent="0" algn="l" defTabSz="914400" rtl="0" eaLnBrk="1" latinLnBrk="0" hangingPunct="1">
      <a:spcBef>
        <a:spcPts val="300"/>
      </a:spcBef>
      <a:defRPr sz="1200" kern="1200">
        <a:solidFill>
          <a:schemeClr val="tx1"/>
        </a:solidFill>
        <a:latin typeface="+mn-lt"/>
        <a:ea typeface="+mn-ea"/>
        <a:cs typeface="+mn-cs"/>
      </a:defRPr>
    </a:lvl2pPr>
    <a:lvl3pPr marL="180000" indent="-180000" algn="l" defTabSz="914400" rtl="0" eaLnBrk="1" latinLnBrk="0" hangingPunct="1">
      <a:spcBef>
        <a:spcPts val="300"/>
      </a:spcBef>
      <a:buClr>
        <a:schemeClr val="tx2"/>
      </a:buClr>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spcBef>
        <a:spcPts val="300"/>
      </a:spcBef>
      <a:buClr>
        <a:schemeClr val="tx2"/>
      </a:buClr>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buClr>
        <a:schemeClr val="tx2"/>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008063"/>
            <a:ext cx="6140450" cy="3454400"/>
          </a:xfrm>
        </p:spPr>
      </p:sp>
      <p:sp>
        <p:nvSpPr>
          <p:cNvPr id="3" name="Notizenplatzhalter 2"/>
          <p:cNvSpPr>
            <a:spLocks noGrp="1"/>
          </p:cNvSpPr>
          <p:nvPr>
            <p:ph type="body" idx="1"/>
          </p:nvPr>
        </p:nvSpPr>
        <p:spPr/>
        <p:txBody>
          <a:bodyPr/>
          <a:lstStyle/>
          <a:p>
            <a:r>
              <a:rPr lang="de-DE"/>
              <a:t>Keine Werbefolie, sondern Herleitung unserer Problemstellung</a:t>
            </a:r>
          </a:p>
        </p:txBody>
      </p:sp>
      <p:sp>
        <p:nvSpPr>
          <p:cNvPr id="4" name="Foliennummernplatzhalter 3"/>
          <p:cNvSpPr>
            <a:spLocks noGrp="1"/>
          </p:cNvSpPr>
          <p:nvPr>
            <p:ph type="sldNum" sz="quarter" idx="10"/>
          </p:nvPr>
        </p:nvSpPr>
        <p:spPr/>
        <p:txBody>
          <a:bodyPr/>
          <a:lstStyle/>
          <a:p>
            <a:fld id="{38C6A46A-E380-42E5-BA0B-10331261D6AA}" type="slidenum">
              <a:rPr lang="de-DE" smtClean="0"/>
              <a:pPr/>
              <a:t>9</a:t>
            </a:fld>
            <a:endParaRPr lang="de-DE"/>
          </a:p>
        </p:txBody>
      </p:sp>
    </p:spTree>
    <p:extLst>
      <p:ext uri="{BB962C8B-B14F-4D97-AF65-F5344CB8AC3E}">
        <p14:creationId xmlns:p14="http://schemas.microsoft.com/office/powerpoint/2010/main" val="3658158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008063"/>
            <a:ext cx="6140450" cy="3454400"/>
          </a:xfrm>
        </p:spPr>
      </p:sp>
      <p:sp>
        <p:nvSpPr>
          <p:cNvPr id="3" name="Notizenplatzhalter 2"/>
          <p:cNvSpPr>
            <a:spLocks noGrp="1"/>
          </p:cNvSpPr>
          <p:nvPr>
            <p:ph type="body" idx="1"/>
          </p:nvPr>
        </p:nvSpPr>
        <p:spPr/>
        <p:txBody>
          <a:bodyPr/>
          <a:lstStyle/>
          <a:p>
            <a:pPr defTabSz="944262">
              <a:defRPr/>
            </a:pPr>
            <a:r>
              <a:rPr lang="de-DE"/>
              <a:t>Keine Werbefolie, sondern Herleitung unserer Problemstellung</a:t>
            </a:r>
          </a:p>
          <a:p>
            <a:endParaRPr lang="de-DE"/>
          </a:p>
        </p:txBody>
      </p:sp>
      <p:sp>
        <p:nvSpPr>
          <p:cNvPr id="4" name="Foliennummernplatzhalter 3"/>
          <p:cNvSpPr>
            <a:spLocks noGrp="1"/>
          </p:cNvSpPr>
          <p:nvPr>
            <p:ph type="sldNum" sz="quarter" idx="10"/>
          </p:nvPr>
        </p:nvSpPr>
        <p:spPr/>
        <p:txBody>
          <a:bodyPr/>
          <a:lstStyle/>
          <a:p>
            <a:fld id="{38C6A46A-E380-42E5-BA0B-10331261D6AA}" type="slidenum">
              <a:rPr lang="de-DE" smtClean="0"/>
              <a:pPr/>
              <a:t>10</a:t>
            </a:fld>
            <a:endParaRPr lang="de-DE"/>
          </a:p>
        </p:txBody>
      </p:sp>
    </p:spTree>
    <p:extLst>
      <p:ext uri="{BB962C8B-B14F-4D97-AF65-F5344CB8AC3E}">
        <p14:creationId xmlns:p14="http://schemas.microsoft.com/office/powerpoint/2010/main" val="6290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008063"/>
            <a:ext cx="6140450" cy="3454400"/>
          </a:xfrm>
        </p:spPr>
      </p:sp>
      <p:sp>
        <p:nvSpPr>
          <p:cNvPr id="3" name="Notizenplatzhalter 2"/>
          <p:cNvSpPr>
            <a:spLocks noGrp="1"/>
          </p:cNvSpPr>
          <p:nvPr>
            <p:ph type="body" idx="1"/>
          </p:nvPr>
        </p:nvSpPr>
        <p:spPr/>
        <p:txBody>
          <a:bodyPr/>
          <a:lstStyle/>
          <a:p>
            <a:pPr defTabSz="944262">
              <a:defRPr/>
            </a:pPr>
            <a:r>
              <a:rPr lang="de-DE"/>
              <a:t>Keine Werbefolie, sondern Herleitung unserer Problemstellung</a:t>
            </a:r>
          </a:p>
          <a:p>
            <a:endParaRPr lang="de-DE"/>
          </a:p>
        </p:txBody>
      </p:sp>
      <p:sp>
        <p:nvSpPr>
          <p:cNvPr id="4" name="Foliennummernplatzhalter 3"/>
          <p:cNvSpPr>
            <a:spLocks noGrp="1"/>
          </p:cNvSpPr>
          <p:nvPr>
            <p:ph type="sldNum" sz="quarter" idx="10"/>
          </p:nvPr>
        </p:nvSpPr>
        <p:spPr/>
        <p:txBody>
          <a:bodyPr/>
          <a:lstStyle/>
          <a:p>
            <a:fld id="{38C6A46A-E380-42E5-BA0B-10331261D6AA}" type="slidenum">
              <a:rPr lang="de-DE" smtClean="0"/>
              <a:pPr/>
              <a:t>11</a:t>
            </a:fld>
            <a:endParaRPr lang="de-DE"/>
          </a:p>
        </p:txBody>
      </p:sp>
    </p:spTree>
    <p:extLst>
      <p:ext uri="{BB962C8B-B14F-4D97-AF65-F5344CB8AC3E}">
        <p14:creationId xmlns:p14="http://schemas.microsoft.com/office/powerpoint/2010/main" val="2479362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38C6A46A-E380-42E5-BA0B-10331261D6AA}" type="slidenum">
              <a:rPr lang="de-DE" smtClean="0"/>
              <a:pPr/>
              <a:t>50</a:t>
            </a:fld>
            <a:endParaRPr lang="de-DE"/>
          </a:p>
        </p:txBody>
      </p:sp>
    </p:spTree>
    <p:extLst>
      <p:ext uri="{BB962C8B-B14F-4D97-AF65-F5344CB8AC3E}">
        <p14:creationId xmlns:p14="http://schemas.microsoft.com/office/powerpoint/2010/main" val="5650241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24072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feld 7"/>
          <p:cNvSpPr txBox="1">
            <a:spLocks/>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vert="horz" wrap="square" lIns="504000" tIns="0" rIns="468000" bIns="0" rtlCol="0" anchor="ctr">
            <a:noAutofit/>
          </a:bodyPr>
          <a:lstStyle>
            <a:lvl1pPr algn="l" defTabSz="914400" rtl="0" eaLnBrk="1" latinLnBrk="0" hangingPunct="1">
              <a:lnSpc>
                <a:spcPct val="100000"/>
              </a:lnSpc>
              <a:spcBef>
                <a:spcPct val="0"/>
              </a:spcBef>
              <a:buNone/>
              <a:defRPr sz="4000" kern="1200" baseline="0">
                <a:solidFill>
                  <a:schemeClr val="bg1"/>
                </a:solidFill>
                <a:latin typeface="+mj-lt"/>
                <a:ea typeface="+mj-ea"/>
                <a:cs typeface="+mj-cs"/>
              </a:defRPr>
            </a:lvl1pPr>
          </a:lstStyle>
          <a:p>
            <a:pPr lvl="0" algn="l"/>
            <a:r>
              <a:rPr lang="de-DE" sz="2800" b="0" i="0" u="none" strike="noStrike" kern="1200" baseline="0">
                <a:solidFill>
                  <a:schemeClr val="bg1"/>
                </a:solidFill>
                <a:latin typeface="+mj-lt"/>
                <a:ea typeface="+mj-ea"/>
                <a:cs typeface="Arial" pitchFamily="34" charset="0"/>
              </a:rPr>
              <a:t>Eine Präsentation der Hermes Gruppe</a:t>
            </a:r>
          </a:p>
        </p:txBody>
      </p:sp>
      <p:sp>
        <p:nvSpPr>
          <p:cNvPr id="10" name="Textplatzhalter 9"/>
          <p:cNvSpPr>
            <a:spLocks noGrp="1"/>
          </p:cNvSpPr>
          <p:nvPr>
            <p:ph type="body" sz="quarter" idx="11" hasCustomPrompt="1"/>
          </p:nvPr>
        </p:nvSpPr>
        <p:spPr>
          <a:xfrm>
            <a:off x="515937" y="6129300"/>
            <a:ext cx="7092231"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cxnSp>
        <p:nvCxnSpPr>
          <p:cNvPr id="22"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234"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7587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folie ohne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189337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4" imgW="270" imgH="270" progId="TCLayout.ActiveDocument.1">
                  <p:embed/>
                </p:oleObj>
              </mc:Choice>
              <mc:Fallback>
                <p:oleObj name="think-cell Folie" r:id="rId4" imgW="270" imgH="270" progId="TCLayout.ActiveDocument.1">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el 10"/>
          <p:cNvSpPr>
            <a:spLocks noGrp="1"/>
          </p:cNvSpPr>
          <p:nvPr>
            <p:ph type="title" hasCustomPrompt="1"/>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wrap="square" lIns="468000" tIns="2340000" rIns="468000" bIns="1440000">
            <a:noAutofit/>
          </a:bodyPr>
          <a:lstStyle>
            <a:lvl1pPr>
              <a:defRPr sz="4000">
                <a:solidFill>
                  <a:schemeClr val="bg1"/>
                </a:solidFill>
              </a:defRPr>
            </a:lvl1pPr>
          </a:lstStyle>
          <a:p>
            <a:r>
              <a:rPr lang="de-DE"/>
              <a:t>Kapitelname einfügen</a:t>
            </a:r>
          </a:p>
        </p:txBody>
      </p:sp>
      <p:sp>
        <p:nvSpPr>
          <p:cNvPr id="8" name="Untertitel 2"/>
          <p:cNvSpPr>
            <a:spLocks noGrp="1"/>
          </p:cNvSpPr>
          <p:nvPr>
            <p:ph type="subTitle" idx="1" hasCustomPrompt="1"/>
          </p:nvPr>
        </p:nvSpPr>
        <p:spPr bwMode="gray">
          <a:xfrm>
            <a:off x="515380" y="4079298"/>
            <a:ext cx="6912768" cy="307777"/>
          </a:xfrm>
        </p:spPr>
        <p:txBody>
          <a:bodyPr>
            <a:spAutoFit/>
          </a:bodyPr>
          <a:lstStyle>
            <a:lvl1pPr marL="0" indent="0" algn="l">
              <a:spcBef>
                <a:spcPts val="0"/>
              </a:spcBef>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Optional: Untertitel einfügen</a:t>
            </a:r>
          </a:p>
        </p:txBody>
      </p:sp>
      <p:sp>
        <p:nvSpPr>
          <p:cNvPr id="9" name="Textplatzhalter 9"/>
          <p:cNvSpPr>
            <a:spLocks noGrp="1"/>
          </p:cNvSpPr>
          <p:nvPr>
            <p:ph type="body" sz="quarter" idx="12" hasCustomPrompt="1"/>
          </p:nvPr>
        </p:nvSpPr>
        <p:spPr bwMode="gray">
          <a:xfrm>
            <a:off x="440160" y="1268934"/>
            <a:ext cx="1551384" cy="1017017"/>
          </a:xfrm>
        </p:spPr>
        <p:txBody>
          <a:bodyPr anchor="b">
            <a:noAutofit/>
          </a:bodyPr>
          <a:lstStyle>
            <a:lvl1pPr marL="0" indent="0" algn="l">
              <a:spcBef>
                <a:spcPts val="0"/>
              </a:spcBef>
              <a:buFont typeface="Arial" panose="020B0604020202020204" pitchFamily="34" charset="0"/>
              <a:buNone/>
              <a:defRPr sz="8000" i="0">
                <a:solidFill>
                  <a:schemeClr val="bg1"/>
                </a:solidFill>
              </a:defRPr>
            </a:lvl1pPr>
            <a:lvl2pPr marL="0" indent="0">
              <a:spcBef>
                <a:spcPts val="0"/>
              </a:spcBef>
              <a:buFont typeface="Arial" panose="020B0604020202020204" pitchFamily="34" charset="0"/>
              <a:buNone/>
              <a:defRPr sz="3200">
                <a:solidFill>
                  <a:schemeClr val="bg1"/>
                </a:solidFill>
              </a:defRPr>
            </a:lvl2pPr>
            <a:lvl3pPr marL="0" indent="0">
              <a:spcBef>
                <a:spcPts val="0"/>
              </a:spcBef>
              <a:buNone/>
              <a:defRPr sz="3200">
                <a:solidFill>
                  <a:schemeClr val="bg1"/>
                </a:solidFill>
              </a:defRPr>
            </a:lvl3pPr>
            <a:lvl4pPr marL="0" indent="0">
              <a:spcBef>
                <a:spcPts val="0"/>
              </a:spcBef>
              <a:buNone/>
              <a:defRPr sz="3200">
                <a:solidFill>
                  <a:schemeClr val="bg1"/>
                </a:solidFill>
              </a:defRPr>
            </a:lvl4pPr>
            <a:lvl5pPr marL="0" indent="0">
              <a:spcBef>
                <a:spcPts val="0"/>
              </a:spcBef>
              <a:buNone/>
              <a:defRPr sz="3200">
                <a:solidFill>
                  <a:schemeClr val="bg1"/>
                </a:solidFill>
              </a:defRPr>
            </a:lvl5pPr>
          </a:lstStyle>
          <a:p>
            <a:pPr lvl="0"/>
            <a:r>
              <a:rPr lang="de-DE"/>
              <a:t>Nr.</a:t>
            </a:r>
          </a:p>
        </p:txBody>
      </p:sp>
      <p:cxnSp>
        <p:nvCxnSpPr>
          <p:cNvPr id="22"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0181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oduktsteckbrief Seite 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a:t>Produktname (XYZ)</a:t>
            </a:r>
          </a:p>
        </p:txBody>
      </p:sp>
      <p:sp>
        <p:nvSpPr>
          <p:cNvPr id="3" name="Foliennummernplatzhalter 2"/>
          <p:cNvSpPr>
            <a:spLocks noGrp="1"/>
          </p:cNvSpPr>
          <p:nvPr>
            <p:ph type="sldNum" sz="quarter" idx="10"/>
          </p:nvPr>
        </p:nvSpPr>
        <p:spPr/>
        <p:txBody>
          <a:bodyPr/>
          <a:lstStyle/>
          <a:p>
            <a:fld id="{D45191E9-993A-4B71-A5D0-51B0F1A4B1BB}" type="slidenum">
              <a:rPr lang="de-DE" smtClean="0"/>
              <a:pPr/>
              <a:t>‹Nr.›</a:t>
            </a:fld>
            <a:endParaRPr lang="de-DE"/>
          </a:p>
        </p:txBody>
      </p:sp>
      <p:sp>
        <p:nvSpPr>
          <p:cNvPr id="5" name="Textplatzhalter 8"/>
          <p:cNvSpPr>
            <a:spLocks noGrp="1"/>
          </p:cNvSpPr>
          <p:nvPr>
            <p:ph type="body" sz="quarter" idx="14"/>
          </p:nvPr>
        </p:nvSpPr>
        <p:spPr bwMode="gray">
          <a:xfrm>
            <a:off x="515938" y="1556792"/>
            <a:ext cx="7380262" cy="4572546"/>
          </a:xfrm>
          <a:solidFill>
            <a:srgbClr val="E7E7E8"/>
          </a:solidFill>
        </p:spPr>
        <p:txBody>
          <a:bodyPr lIns="108000" tIns="72000" rIns="108000" bIns="72000"/>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1800" baseline="0"/>
            </a:lvl1pPr>
            <a:lvl2pPr>
              <a:defRPr sz="1600" baseline="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Bildplatzhalter 11"/>
          <p:cNvSpPr>
            <a:spLocks noGrp="1"/>
          </p:cNvSpPr>
          <p:nvPr>
            <p:ph type="pic" sz="quarter" idx="15"/>
          </p:nvPr>
        </p:nvSpPr>
        <p:spPr bwMode="gray">
          <a:xfrm>
            <a:off x="8112224" y="404663"/>
            <a:ext cx="3564408" cy="2351597"/>
          </a:xfrm>
          <a:gradFill flip="none" rotWithShape="1">
            <a:gsLst>
              <a:gs pos="29000">
                <a:srgbClr val="219AD8"/>
              </a:gs>
              <a:gs pos="75000">
                <a:srgbClr val="034F90"/>
              </a:gs>
            </a:gsLst>
            <a:path path="circle">
              <a:fillToRect l="50000" t="50000" r="50000" b="50000"/>
            </a:path>
            <a:tileRect/>
          </a:gradFill>
        </p:spPr>
        <p:txBody>
          <a:bodyPr anchor="b"/>
          <a:lstStyle>
            <a:lvl1pPr algn="ctr">
              <a:spcBef>
                <a:spcPts val="0"/>
              </a:spcBef>
              <a:defRPr sz="1000">
                <a:solidFill>
                  <a:schemeClr val="bg1"/>
                </a:solidFill>
              </a:defRPr>
            </a:lvl1pPr>
          </a:lstStyle>
          <a:p>
            <a:r>
              <a:rPr lang="de-DE"/>
              <a:t>Bild durch Klicken auf Symbol hinzufügen</a:t>
            </a:r>
          </a:p>
        </p:txBody>
      </p:sp>
      <p:sp>
        <p:nvSpPr>
          <p:cNvPr id="7" name="Textplatzhalter 11"/>
          <p:cNvSpPr>
            <a:spLocks noGrp="1"/>
          </p:cNvSpPr>
          <p:nvPr>
            <p:ph type="body" sz="quarter" idx="16" hasCustomPrompt="1"/>
          </p:nvPr>
        </p:nvSpPr>
        <p:spPr bwMode="gray">
          <a:xfrm>
            <a:off x="8112619" y="2996952"/>
            <a:ext cx="3564000" cy="3096344"/>
          </a:xfrm>
        </p:spPr>
        <p:txBody>
          <a:bodyPr/>
          <a:lstStyle>
            <a:lvl1pPr>
              <a:defRPr sz="1600"/>
            </a:lvl1pPr>
            <a:lvl3pPr>
              <a:defRPr sz="1400"/>
            </a:lvl3pPr>
          </a:lstStyle>
          <a:p>
            <a:pPr lvl="0"/>
            <a:r>
              <a:rPr lang="de-DE"/>
              <a:t>Kanäle</a:t>
            </a:r>
          </a:p>
          <a:p>
            <a:pPr lvl="2"/>
            <a:r>
              <a:rPr lang="de-DE"/>
              <a:t>Erste Ebene</a:t>
            </a:r>
          </a:p>
        </p:txBody>
      </p:sp>
    </p:spTree>
    <p:extLst>
      <p:ext uri="{BB962C8B-B14F-4D97-AF65-F5344CB8AC3E}">
        <p14:creationId xmlns:p14="http://schemas.microsoft.com/office/powerpoint/2010/main" val="3176057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336672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515378" y="404744"/>
            <a:ext cx="11160685" cy="720000"/>
          </a:xfrm>
        </p:spPr>
        <p:txBody>
          <a:bodyPr/>
          <a:lstStyle/>
          <a:p>
            <a:r>
              <a:rPr lang="de-DE"/>
              <a:t>Titelmasterformat durch Klicken bearbeiten</a:t>
            </a:r>
          </a:p>
        </p:txBody>
      </p:sp>
      <p:sp>
        <p:nvSpPr>
          <p:cNvPr id="6" name="Foliennummernplatzhalter 5"/>
          <p:cNvSpPr>
            <a:spLocks noGrp="1"/>
          </p:cNvSpPr>
          <p:nvPr>
            <p:ph type="sldNum" sz="quarter" idx="12"/>
          </p:nvPr>
        </p:nvSpPr>
        <p:spPr bwMode="gray"/>
        <p:txBody>
          <a:bodyPr/>
          <a:lstStyle/>
          <a:p>
            <a:fld id="{D45191E9-993A-4B71-A5D0-51B0F1A4B1BB}" type="slidenum">
              <a:rPr lang="de-DE" smtClean="0"/>
              <a:pPr/>
              <a:t>‹Nr.›</a:t>
            </a:fld>
            <a:endParaRPr lang="de-DE"/>
          </a:p>
        </p:txBody>
      </p:sp>
      <p:sp>
        <p:nvSpPr>
          <p:cNvPr id="13" name="Textplatzhalter 11"/>
          <p:cNvSpPr>
            <a:spLocks noGrp="1"/>
          </p:cNvSpPr>
          <p:nvPr>
            <p:ph type="body" sz="quarter" idx="13"/>
          </p:nvPr>
        </p:nvSpPr>
        <p:spPr bwMode="gray">
          <a:xfrm>
            <a:off x="515378" y="1520825"/>
            <a:ext cx="11160125"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48343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inks und Bild recht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7" name="Foliennummernplatzhalter 6"/>
          <p:cNvSpPr>
            <a:spLocks noGrp="1"/>
          </p:cNvSpPr>
          <p:nvPr>
            <p:ph type="sldNum" sz="quarter" idx="12"/>
          </p:nvPr>
        </p:nvSpPr>
        <p:spPr bwMode="gray">
          <a:xfrm>
            <a:off x="514800" y="6480000"/>
            <a:ext cx="1332148" cy="180000"/>
          </a:xfrm>
        </p:spPr>
        <p:txBody>
          <a:bodyPr/>
          <a:lstStyle/>
          <a:p>
            <a:fld id="{D45191E9-993A-4B71-A5D0-51B0F1A4B1BB}" type="slidenum">
              <a:rPr lang="de-DE" smtClean="0"/>
              <a:pPr/>
              <a:t>‹Nr.›</a:t>
            </a:fld>
            <a:endParaRPr lang="de-DE"/>
          </a:p>
        </p:txBody>
      </p:sp>
      <p:sp>
        <p:nvSpPr>
          <p:cNvPr id="9" name="Textplatzhalter 8"/>
          <p:cNvSpPr>
            <a:spLocks noGrp="1"/>
          </p:cNvSpPr>
          <p:nvPr>
            <p:ph type="body" sz="quarter" idx="13"/>
          </p:nvPr>
        </p:nvSpPr>
        <p:spPr bwMode="gray">
          <a:xfrm>
            <a:off x="514801" y="1520825"/>
            <a:ext cx="5509762"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Bildplatzhalter 11"/>
          <p:cNvSpPr>
            <a:spLocks noGrp="1"/>
          </p:cNvSpPr>
          <p:nvPr>
            <p:ph type="pic" sz="quarter" idx="14"/>
          </p:nvPr>
        </p:nvSpPr>
        <p:spPr bwMode="gray">
          <a:xfrm>
            <a:off x="6167438" y="1557338"/>
            <a:ext cx="5508624" cy="4572000"/>
          </a:xfrm>
        </p:spPr>
        <p:txBody>
          <a:bodyPr/>
          <a:lstStyle>
            <a:lvl1pPr>
              <a:spcBef>
                <a:spcPts val="0"/>
              </a:spcBef>
              <a:defRPr/>
            </a:lvl1pPr>
          </a:lstStyle>
          <a:p>
            <a:r>
              <a:rPr lang="de-DE"/>
              <a:t>Bild durch Klicken auf Symbol hinzufügen</a:t>
            </a:r>
          </a:p>
        </p:txBody>
      </p:sp>
    </p:spTree>
    <p:extLst>
      <p:ext uri="{BB962C8B-B14F-4D97-AF65-F5344CB8AC3E}">
        <p14:creationId xmlns:p14="http://schemas.microsoft.com/office/powerpoint/2010/main" val="1843411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links und Text recht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7" name="Foliennummernplatzhalter 6"/>
          <p:cNvSpPr>
            <a:spLocks noGrp="1"/>
          </p:cNvSpPr>
          <p:nvPr>
            <p:ph type="sldNum" sz="quarter" idx="12"/>
          </p:nvPr>
        </p:nvSpPr>
        <p:spPr bwMode="gray"/>
        <p:txBody>
          <a:bodyPr/>
          <a:lstStyle/>
          <a:p>
            <a:fld id="{D45191E9-993A-4B71-A5D0-51B0F1A4B1BB}" type="slidenum">
              <a:rPr lang="de-DE" smtClean="0"/>
              <a:pPr/>
              <a:t>‹Nr.›</a:t>
            </a:fld>
            <a:endParaRPr lang="de-DE"/>
          </a:p>
        </p:txBody>
      </p:sp>
      <p:sp>
        <p:nvSpPr>
          <p:cNvPr id="12" name="Bildplatzhalter 11"/>
          <p:cNvSpPr>
            <a:spLocks noGrp="1"/>
          </p:cNvSpPr>
          <p:nvPr>
            <p:ph type="pic" sz="quarter" idx="14"/>
          </p:nvPr>
        </p:nvSpPr>
        <p:spPr bwMode="gray">
          <a:xfrm>
            <a:off x="515937" y="1557338"/>
            <a:ext cx="5508626" cy="4572000"/>
          </a:xfrm>
        </p:spPr>
        <p:txBody>
          <a:bodyPr/>
          <a:lstStyle>
            <a:lvl1pPr>
              <a:spcBef>
                <a:spcPts val="0"/>
              </a:spcBef>
              <a:defRPr/>
            </a:lvl1pPr>
          </a:lstStyle>
          <a:p>
            <a:r>
              <a:rPr lang="de-DE"/>
              <a:t>Bild durch Klicken auf Symbol hinzufügen</a:t>
            </a:r>
          </a:p>
        </p:txBody>
      </p:sp>
      <p:sp>
        <p:nvSpPr>
          <p:cNvPr id="6" name="Textplatzhalter 8"/>
          <p:cNvSpPr>
            <a:spLocks noGrp="1"/>
          </p:cNvSpPr>
          <p:nvPr>
            <p:ph type="body" sz="quarter" idx="13"/>
          </p:nvPr>
        </p:nvSpPr>
        <p:spPr bwMode="gray">
          <a:xfrm>
            <a:off x="6167437" y="1520825"/>
            <a:ext cx="5508625"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95078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links und Diagramm recht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
        <p:nvSpPr>
          <p:cNvPr id="4" name="Textplatzhalter 8"/>
          <p:cNvSpPr>
            <a:spLocks noGrp="1"/>
          </p:cNvSpPr>
          <p:nvPr>
            <p:ph type="body" sz="quarter" idx="13"/>
          </p:nvPr>
        </p:nvSpPr>
        <p:spPr bwMode="gray">
          <a:xfrm>
            <a:off x="515937" y="1520825"/>
            <a:ext cx="5508625"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8"/>
          <p:cNvSpPr>
            <a:spLocks noGrp="1"/>
          </p:cNvSpPr>
          <p:nvPr>
            <p:ph type="body" sz="quarter" idx="14" hasCustomPrompt="1"/>
          </p:nvPr>
        </p:nvSpPr>
        <p:spPr bwMode="gray">
          <a:xfrm>
            <a:off x="6167438" y="1520825"/>
            <a:ext cx="5508625" cy="287995"/>
          </a:xfrm>
        </p:spPr>
        <p:txBody>
          <a:bodyPr>
            <a:noAutofit/>
          </a:bodyPr>
          <a:lstStyle>
            <a:lvl1pPr marL="0" indent="0">
              <a:spcBef>
                <a:spcPts val="0"/>
              </a:spcBef>
              <a:buFont typeface="Arial" panose="020B0604020202020204" pitchFamily="34" charset="0"/>
              <a:buNone/>
              <a:defRPr>
                <a:solidFill>
                  <a:schemeClr val="bg2"/>
                </a:solidFill>
              </a:defRPr>
            </a:lvl1pPr>
            <a:lvl2pPr marL="0" indent="0">
              <a:spcBef>
                <a:spcPts val="0"/>
              </a:spcBef>
              <a:buFont typeface="Arial" panose="020B0604020202020204" pitchFamily="34" charset="0"/>
              <a:buNone/>
              <a:defRPr>
                <a:solidFill>
                  <a:schemeClr val="bg2"/>
                </a:solidFill>
              </a:defRPr>
            </a:lvl2pPr>
            <a:lvl3pPr marL="0" indent="0">
              <a:spcBef>
                <a:spcPts val="0"/>
              </a:spcBef>
              <a:buNone/>
              <a:defRPr>
                <a:solidFill>
                  <a:schemeClr val="bg2"/>
                </a:solidFill>
              </a:defRPr>
            </a:lvl3pPr>
            <a:lvl4pPr marL="0" indent="0">
              <a:spcBef>
                <a:spcPts val="0"/>
              </a:spcBef>
              <a:buNone/>
              <a:defRPr>
                <a:solidFill>
                  <a:schemeClr val="bg2"/>
                </a:solidFill>
              </a:defRPr>
            </a:lvl4pPr>
            <a:lvl5pPr marL="0" indent="0">
              <a:spcBef>
                <a:spcPts val="0"/>
              </a:spcBef>
              <a:buNone/>
              <a:defRPr>
                <a:solidFill>
                  <a:schemeClr val="bg2"/>
                </a:solidFill>
              </a:defRPr>
            </a:lvl5pPr>
          </a:lstStyle>
          <a:p>
            <a:pPr lvl="0"/>
            <a:r>
              <a:rPr lang="de-DE"/>
              <a:t>Diagrammtitel bearbeiten</a:t>
            </a:r>
          </a:p>
        </p:txBody>
      </p:sp>
      <p:sp>
        <p:nvSpPr>
          <p:cNvPr id="6" name="Textplatzhalter 8"/>
          <p:cNvSpPr>
            <a:spLocks noGrp="1"/>
          </p:cNvSpPr>
          <p:nvPr>
            <p:ph type="body" sz="quarter" idx="15" hasCustomPrompt="1"/>
          </p:nvPr>
        </p:nvSpPr>
        <p:spPr bwMode="gray">
          <a:xfrm>
            <a:off x="6167438" y="1837185"/>
            <a:ext cx="5508625" cy="216024"/>
          </a:xfrm>
        </p:spPr>
        <p:txBody>
          <a:bodyPr>
            <a:noAutofit/>
          </a:bodyPr>
          <a:lstStyle>
            <a:lvl1pPr marL="0" indent="0">
              <a:spcBef>
                <a:spcPts val="0"/>
              </a:spcBef>
              <a:buFont typeface="Arial" panose="020B0604020202020204" pitchFamily="34" charset="0"/>
              <a:buNone/>
              <a:defRPr sz="1400">
                <a:solidFill>
                  <a:schemeClr val="tx1"/>
                </a:solidFill>
              </a:defRPr>
            </a:lvl1pPr>
            <a:lvl2pPr marL="0" indent="0">
              <a:spcBef>
                <a:spcPts val="0"/>
              </a:spcBef>
              <a:buFont typeface="Arial" panose="020B0604020202020204" pitchFamily="34" charset="0"/>
              <a:buNone/>
              <a:defRPr sz="1400">
                <a:solidFill>
                  <a:schemeClr val="tx1"/>
                </a:solidFill>
              </a:defRPr>
            </a:lvl2pPr>
            <a:lvl3pPr marL="0" indent="0">
              <a:spcBef>
                <a:spcPts val="0"/>
              </a:spcBef>
              <a:buNone/>
              <a:defRPr sz="1400">
                <a:solidFill>
                  <a:schemeClr val="tx1"/>
                </a:solidFill>
              </a:defRPr>
            </a:lvl3pPr>
            <a:lvl4pPr marL="0" indent="0">
              <a:spcBef>
                <a:spcPts val="0"/>
              </a:spcBef>
              <a:buNone/>
              <a:defRPr sz="1400">
                <a:solidFill>
                  <a:schemeClr val="tx1"/>
                </a:solidFill>
              </a:defRPr>
            </a:lvl4pPr>
            <a:lvl5pPr marL="0" indent="0">
              <a:spcBef>
                <a:spcPts val="0"/>
              </a:spcBef>
              <a:buNone/>
              <a:defRPr sz="1400">
                <a:solidFill>
                  <a:schemeClr val="tx1"/>
                </a:solidFill>
              </a:defRPr>
            </a:lvl5pPr>
          </a:lstStyle>
          <a:p>
            <a:pPr lvl="0"/>
            <a:r>
              <a:rPr lang="de-DE"/>
              <a:t>Werteinheit bearbeiten</a:t>
            </a:r>
          </a:p>
        </p:txBody>
      </p:sp>
      <p:sp>
        <p:nvSpPr>
          <p:cNvPr id="7" name="Textplatzhalter 8"/>
          <p:cNvSpPr>
            <a:spLocks noGrp="1"/>
          </p:cNvSpPr>
          <p:nvPr>
            <p:ph type="body" sz="quarter" idx="16" hasCustomPrompt="1"/>
          </p:nvPr>
        </p:nvSpPr>
        <p:spPr bwMode="gray">
          <a:xfrm>
            <a:off x="6167438" y="5985284"/>
            <a:ext cx="5508625" cy="141846"/>
          </a:xfrm>
        </p:spPr>
        <p:txBody>
          <a:bodyPr wrap="square" anchor="b">
            <a:spAutoFit/>
          </a:bodyPr>
          <a:lstStyle>
            <a:lvl1pPr marL="0" indent="0">
              <a:spcBef>
                <a:spcPts val="0"/>
              </a:spcBef>
              <a:buFont typeface="Arial" panose="020B0604020202020204" pitchFamily="34" charset="0"/>
              <a:buNone/>
              <a:defRPr sz="900" baseline="0">
                <a:solidFill>
                  <a:schemeClr val="tx1"/>
                </a:solidFill>
              </a:defRPr>
            </a:lvl1pPr>
            <a:lvl2pPr marL="0" indent="0">
              <a:spcBef>
                <a:spcPts val="0"/>
              </a:spcBef>
              <a:buFont typeface="Arial" panose="020B0604020202020204" pitchFamily="34" charset="0"/>
              <a:buNone/>
              <a:defRPr sz="900">
                <a:solidFill>
                  <a:schemeClr val="tx1"/>
                </a:solidFill>
              </a:defRPr>
            </a:lvl2pPr>
            <a:lvl3pPr marL="0" indent="0">
              <a:spcBef>
                <a:spcPts val="0"/>
              </a:spcBef>
              <a:buNone/>
              <a:defRPr sz="900">
                <a:solidFill>
                  <a:schemeClr val="tx1"/>
                </a:solidFill>
              </a:defRPr>
            </a:lvl3pPr>
            <a:lvl4pPr marL="0" indent="0">
              <a:spcBef>
                <a:spcPts val="0"/>
              </a:spcBef>
              <a:buNone/>
              <a:defRPr sz="900">
                <a:solidFill>
                  <a:schemeClr val="tx1"/>
                </a:solidFill>
              </a:defRPr>
            </a:lvl4pPr>
            <a:lvl5pPr marL="0" indent="0">
              <a:spcBef>
                <a:spcPts val="0"/>
              </a:spcBef>
              <a:buNone/>
              <a:defRPr sz="900">
                <a:solidFill>
                  <a:schemeClr val="tx1"/>
                </a:solidFill>
              </a:defRPr>
            </a:lvl5pPr>
          </a:lstStyle>
          <a:p>
            <a:pPr lvl="0"/>
            <a:r>
              <a:rPr lang="de-DE"/>
              <a:t>Quelle bearbeiten</a:t>
            </a:r>
          </a:p>
        </p:txBody>
      </p:sp>
      <p:sp>
        <p:nvSpPr>
          <p:cNvPr id="10" name="Diagrammplatzhalter 9"/>
          <p:cNvSpPr>
            <a:spLocks noGrp="1"/>
          </p:cNvSpPr>
          <p:nvPr>
            <p:ph type="chart" sz="quarter" idx="17"/>
          </p:nvPr>
        </p:nvSpPr>
        <p:spPr>
          <a:xfrm>
            <a:off x="6167438" y="2133600"/>
            <a:ext cx="5508625" cy="3779838"/>
          </a:xfrm>
        </p:spPr>
        <p:txBody>
          <a:bodyPr/>
          <a:lstStyle>
            <a:lvl1pPr>
              <a:spcBef>
                <a:spcPts val="0"/>
              </a:spcBef>
              <a:defRPr/>
            </a:lvl1pPr>
          </a:lstStyle>
          <a:p>
            <a:r>
              <a:rPr lang="de-DE"/>
              <a:t>Diagramm durch Klicken auf Symbol hinzufügen</a:t>
            </a:r>
          </a:p>
        </p:txBody>
      </p:sp>
    </p:spTree>
    <p:extLst>
      <p:ext uri="{BB962C8B-B14F-4D97-AF65-F5344CB8AC3E}">
        <p14:creationId xmlns:p14="http://schemas.microsoft.com/office/powerpoint/2010/main" val="4261984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gramm links und Text recht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
        <p:nvSpPr>
          <p:cNvPr id="4" name="Textplatzhalter 8"/>
          <p:cNvSpPr>
            <a:spLocks noGrp="1"/>
          </p:cNvSpPr>
          <p:nvPr>
            <p:ph type="body" sz="quarter" idx="13"/>
          </p:nvPr>
        </p:nvSpPr>
        <p:spPr bwMode="gray">
          <a:xfrm>
            <a:off x="6167437" y="1520825"/>
            <a:ext cx="5508625" cy="460630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8"/>
          <p:cNvSpPr>
            <a:spLocks noGrp="1"/>
          </p:cNvSpPr>
          <p:nvPr>
            <p:ph type="body" sz="quarter" idx="14" hasCustomPrompt="1"/>
          </p:nvPr>
        </p:nvSpPr>
        <p:spPr bwMode="gray">
          <a:xfrm>
            <a:off x="515937" y="1520825"/>
            <a:ext cx="5508000" cy="287995"/>
          </a:xfrm>
        </p:spPr>
        <p:txBody>
          <a:bodyPr>
            <a:noAutofit/>
          </a:bodyPr>
          <a:lstStyle>
            <a:lvl1pPr marL="0" indent="0">
              <a:spcBef>
                <a:spcPts val="0"/>
              </a:spcBef>
              <a:buFont typeface="Arial" panose="020B0604020202020204" pitchFamily="34" charset="0"/>
              <a:buNone/>
              <a:defRPr>
                <a:solidFill>
                  <a:schemeClr val="bg2"/>
                </a:solidFill>
              </a:defRPr>
            </a:lvl1pPr>
            <a:lvl2pPr marL="0" indent="0">
              <a:spcBef>
                <a:spcPts val="0"/>
              </a:spcBef>
              <a:buFont typeface="Arial" panose="020B0604020202020204" pitchFamily="34" charset="0"/>
              <a:buNone/>
              <a:defRPr>
                <a:solidFill>
                  <a:schemeClr val="bg2"/>
                </a:solidFill>
              </a:defRPr>
            </a:lvl2pPr>
            <a:lvl3pPr marL="0" indent="0">
              <a:spcBef>
                <a:spcPts val="0"/>
              </a:spcBef>
              <a:buNone/>
              <a:defRPr>
                <a:solidFill>
                  <a:schemeClr val="bg2"/>
                </a:solidFill>
              </a:defRPr>
            </a:lvl3pPr>
            <a:lvl4pPr marL="0" indent="0">
              <a:spcBef>
                <a:spcPts val="0"/>
              </a:spcBef>
              <a:buNone/>
              <a:defRPr>
                <a:solidFill>
                  <a:schemeClr val="bg2"/>
                </a:solidFill>
              </a:defRPr>
            </a:lvl4pPr>
            <a:lvl5pPr marL="0" indent="0">
              <a:spcBef>
                <a:spcPts val="0"/>
              </a:spcBef>
              <a:buNone/>
              <a:defRPr>
                <a:solidFill>
                  <a:schemeClr val="bg2"/>
                </a:solidFill>
              </a:defRPr>
            </a:lvl5pPr>
          </a:lstStyle>
          <a:p>
            <a:pPr lvl="0"/>
            <a:r>
              <a:rPr lang="de-DE"/>
              <a:t>Diagrammtitel bearbeiten</a:t>
            </a:r>
          </a:p>
        </p:txBody>
      </p:sp>
      <p:sp>
        <p:nvSpPr>
          <p:cNvPr id="9" name="Textplatzhalter 8"/>
          <p:cNvSpPr>
            <a:spLocks noGrp="1"/>
          </p:cNvSpPr>
          <p:nvPr>
            <p:ph type="body" sz="quarter" idx="15" hasCustomPrompt="1"/>
          </p:nvPr>
        </p:nvSpPr>
        <p:spPr bwMode="gray">
          <a:xfrm>
            <a:off x="515937" y="1837185"/>
            <a:ext cx="5508000" cy="216024"/>
          </a:xfrm>
        </p:spPr>
        <p:txBody>
          <a:bodyPr>
            <a:noAutofit/>
          </a:bodyPr>
          <a:lstStyle>
            <a:lvl1pPr marL="0" indent="0">
              <a:spcBef>
                <a:spcPts val="0"/>
              </a:spcBef>
              <a:buFont typeface="Arial" panose="020B0604020202020204" pitchFamily="34" charset="0"/>
              <a:buNone/>
              <a:defRPr sz="1400">
                <a:solidFill>
                  <a:schemeClr val="tx1"/>
                </a:solidFill>
              </a:defRPr>
            </a:lvl1pPr>
            <a:lvl2pPr marL="0" indent="0">
              <a:spcBef>
                <a:spcPts val="0"/>
              </a:spcBef>
              <a:buFont typeface="Arial" panose="020B0604020202020204" pitchFamily="34" charset="0"/>
              <a:buNone/>
              <a:defRPr sz="1400">
                <a:solidFill>
                  <a:schemeClr val="tx1"/>
                </a:solidFill>
              </a:defRPr>
            </a:lvl2pPr>
            <a:lvl3pPr marL="0" indent="0">
              <a:spcBef>
                <a:spcPts val="0"/>
              </a:spcBef>
              <a:buNone/>
              <a:defRPr sz="1400">
                <a:solidFill>
                  <a:schemeClr val="tx1"/>
                </a:solidFill>
              </a:defRPr>
            </a:lvl3pPr>
            <a:lvl4pPr marL="0" indent="0">
              <a:spcBef>
                <a:spcPts val="0"/>
              </a:spcBef>
              <a:buNone/>
              <a:defRPr sz="1400">
                <a:solidFill>
                  <a:schemeClr val="tx1"/>
                </a:solidFill>
              </a:defRPr>
            </a:lvl4pPr>
            <a:lvl5pPr marL="0" indent="0">
              <a:spcBef>
                <a:spcPts val="0"/>
              </a:spcBef>
              <a:buNone/>
              <a:defRPr sz="1400">
                <a:solidFill>
                  <a:schemeClr val="tx1"/>
                </a:solidFill>
              </a:defRPr>
            </a:lvl5pPr>
          </a:lstStyle>
          <a:p>
            <a:pPr lvl="0"/>
            <a:r>
              <a:rPr lang="de-DE"/>
              <a:t>Werteinheit bearbeiten</a:t>
            </a:r>
          </a:p>
        </p:txBody>
      </p:sp>
      <p:sp>
        <p:nvSpPr>
          <p:cNvPr id="10" name="Textplatzhalter 8"/>
          <p:cNvSpPr>
            <a:spLocks noGrp="1"/>
          </p:cNvSpPr>
          <p:nvPr>
            <p:ph type="body" sz="quarter" idx="16" hasCustomPrompt="1"/>
          </p:nvPr>
        </p:nvSpPr>
        <p:spPr bwMode="gray">
          <a:xfrm>
            <a:off x="515938" y="5985284"/>
            <a:ext cx="5508625" cy="141846"/>
          </a:xfrm>
        </p:spPr>
        <p:txBody>
          <a:bodyPr wrap="square" anchor="b">
            <a:spAutoFit/>
          </a:bodyPr>
          <a:lstStyle>
            <a:lvl1pPr marL="0" indent="0">
              <a:spcBef>
                <a:spcPts val="0"/>
              </a:spcBef>
              <a:buFont typeface="Arial" panose="020B0604020202020204" pitchFamily="34" charset="0"/>
              <a:buNone/>
              <a:defRPr sz="900" baseline="0">
                <a:solidFill>
                  <a:schemeClr val="tx1"/>
                </a:solidFill>
              </a:defRPr>
            </a:lvl1pPr>
            <a:lvl2pPr marL="0" indent="0">
              <a:spcBef>
                <a:spcPts val="0"/>
              </a:spcBef>
              <a:buFont typeface="Arial" panose="020B0604020202020204" pitchFamily="34" charset="0"/>
              <a:buNone/>
              <a:defRPr sz="900">
                <a:solidFill>
                  <a:schemeClr val="tx1"/>
                </a:solidFill>
              </a:defRPr>
            </a:lvl2pPr>
            <a:lvl3pPr marL="0" indent="0">
              <a:spcBef>
                <a:spcPts val="0"/>
              </a:spcBef>
              <a:buNone/>
              <a:defRPr sz="900">
                <a:solidFill>
                  <a:schemeClr val="tx1"/>
                </a:solidFill>
              </a:defRPr>
            </a:lvl3pPr>
            <a:lvl4pPr marL="0" indent="0">
              <a:spcBef>
                <a:spcPts val="0"/>
              </a:spcBef>
              <a:buNone/>
              <a:defRPr sz="900">
                <a:solidFill>
                  <a:schemeClr val="tx1"/>
                </a:solidFill>
              </a:defRPr>
            </a:lvl4pPr>
            <a:lvl5pPr marL="0" indent="0">
              <a:spcBef>
                <a:spcPts val="0"/>
              </a:spcBef>
              <a:buNone/>
              <a:defRPr sz="900">
                <a:solidFill>
                  <a:schemeClr val="tx1"/>
                </a:solidFill>
              </a:defRPr>
            </a:lvl5pPr>
          </a:lstStyle>
          <a:p>
            <a:pPr lvl="0"/>
            <a:r>
              <a:rPr lang="de-DE"/>
              <a:t>Quelle bearbeiten</a:t>
            </a:r>
          </a:p>
        </p:txBody>
      </p:sp>
      <p:sp>
        <p:nvSpPr>
          <p:cNvPr id="12" name="Diagrammplatzhalter 9"/>
          <p:cNvSpPr>
            <a:spLocks noGrp="1"/>
          </p:cNvSpPr>
          <p:nvPr>
            <p:ph type="chart" sz="quarter" idx="17"/>
          </p:nvPr>
        </p:nvSpPr>
        <p:spPr>
          <a:xfrm>
            <a:off x="515938" y="2133600"/>
            <a:ext cx="5508625" cy="3779838"/>
          </a:xfrm>
        </p:spPr>
        <p:txBody>
          <a:bodyPr/>
          <a:lstStyle>
            <a:lvl1pPr>
              <a:spcBef>
                <a:spcPts val="0"/>
              </a:spcBef>
              <a:defRPr/>
            </a:lvl1pPr>
          </a:lstStyle>
          <a:p>
            <a:r>
              <a:rPr lang="de-DE"/>
              <a:t>Diagramm durch Klicken auf Symbol hinzufügen</a:t>
            </a:r>
          </a:p>
        </p:txBody>
      </p:sp>
    </p:spTree>
    <p:extLst>
      <p:ext uri="{BB962C8B-B14F-4D97-AF65-F5344CB8AC3E}">
        <p14:creationId xmlns:p14="http://schemas.microsoft.com/office/powerpoint/2010/main" val="1073189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spaltiger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77421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515378" y="404744"/>
            <a:ext cx="11161241" cy="720000"/>
          </a:xfrm>
        </p:spPr>
        <p:txBody>
          <a:bodyPr/>
          <a:lstStyle/>
          <a:p>
            <a:r>
              <a:rPr lang="de-DE"/>
              <a:t>Titelmasterformat durch Klicken bearbeiten</a:t>
            </a:r>
          </a:p>
        </p:txBody>
      </p:sp>
      <p:sp>
        <p:nvSpPr>
          <p:cNvPr id="6" name="Foliennummernplatzhalter 5"/>
          <p:cNvSpPr>
            <a:spLocks noGrp="1"/>
          </p:cNvSpPr>
          <p:nvPr>
            <p:ph type="sldNum" sz="quarter" idx="12"/>
          </p:nvPr>
        </p:nvSpPr>
        <p:spPr bwMode="gray"/>
        <p:txBody>
          <a:bodyPr/>
          <a:lstStyle/>
          <a:p>
            <a:fld id="{D45191E9-993A-4B71-A5D0-51B0F1A4B1BB}" type="slidenum">
              <a:rPr lang="de-DE" smtClean="0"/>
              <a:pPr/>
              <a:t>‹Nr.›</a:t>
            </a:fld>
            <a:endParaRPr lang="de-DE"/>
          </a:p>
        </p:txBody>
      </p:sp>
      <p:sp>
        <p:nvSpPr>
          <p:cNvPr id="13" name="Textplatzhalter 11"/>
          <p:cNvSpPr>
            <a:spLocks noGrp="1"/>
          </p:cNvSpPr>
          <p:nvPr>
            <p:ph type="body" sz="quarter" idx="13"/>
          </p:nvPr>
        </p:nvSpPr>
        <p:spPr bwMode="gray">
          <a:xfrm>
            <a:off x="515938" y="1520825"/>
            <a:ext cx="3564000"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11"/>
          <p:cNvSpPr>
            <a:spLocks noGrp="1"/>
          </p:cNvSpPr>
          <p:nvPr>
            <p:ph type="body" sz="quarter" idx="14"/>
          </p:nvPr>
        </p:nvSpPr>
        <p:spPr bwMode="gray">
          <a:xfrm>
            <a:off x="4314279" y="1520825"/>
            <a:ext cx="3564000"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11"/>
          <p:cNvSpPr>
            <a:spLocks noGrp="1"/>
          </p:cNvSpPr>
          <p:nvPr>
            <p:ph type="body" sz="quarter" idx="15"/>
          </p:nvPr>
        </p:nvSpPr>
        <p:spPr bwMode="gray">
          <a:xfrm>
            <a:off x="8112619" y="1520825"/>
            <a:ext cx="3564000" cy="4608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148484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reispaltiger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521601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515378" y="404744"/>
            <a:ext cx="11161241" cy="720000"/>
          </a:xfrm>
        </p:spPr>
        <p:txBody>
          <a:bodyPr/>
          <a:lstStyle/>
          <a:p>
            <a:r>
              <a:rPr lang="de-DE"/>
              <a:t>Titelmasterformat durch Klicken bearbeiten</a:t>
            </a:r>
          </a:p>
        </p:txBody>
      </p:sp>
      <p:sp>
        <p:nvSpPr>
          <p:cNvPr id="6" name="Foliennummernplatzhalter 5"/>
          <p:cNvSpPr>
            <a:spLocks noGrp="1"/>
          </p:cNvSpPr>
          <p:nvPr>
            <p:ph type="sldNum" sz="quarter" idx="12"/>
          </p:nvPr>
        </p:nvSpPr>
        <p:spPr bwMode="gray"/>
        <p:txBody>
          <a:bodyPr/>
          <a:lstStyle/>
          <a:p>
            <a:fld id="{D45191E9-993A-4B71-A5D0-51B0F1A4B1BB}" type="slidenum">
              <a:rPr lang="de-DE" smtClean="0"/>
              <a:pPr/>
              <a:t>‹Nr.›</a:t>
            </a:fld>
            <a:endParaRPr lang="de-DE"/>
          </a:p>
        </p:txBody>
      </p:sp>
      <p:sp>
        <p:nvSpPr>
          <p:cNvPr id="13" name="Textplatzhalter 11"/>
          <p:cNvSpPr>
            <a:spLocks noGrp="1"/>
          </p:cNvSpPr>
          <p:nvPr>
            <p:ph type="body" sz="quarter" idx="13"/>
          </p:nvPr>
        </p:nvSpPr>
        <p:spPr bwMode="gray">
          <a:xfrm>
            <a:off x="515938" y="1520825"/>
            <a:ext cx="3564000" cy="4608513"/>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Inhaltsplatzhalter 4"/>
          <p:cNvSpPr>
            <a:spLocks noGrp="1"/>
          </p:cNvSpPr>
          <p:nvPr>
            <p:ph sz="quarter" idx="16"/>
          </p:nvPr>
        </p:nvSpPr>
        <p:spPr bwMode="gray">
          <a:xfrm>
            <a:off x="4312754" y="1520825"/>
            <a:ext cx="3565525" cy="4608513"/>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Inhaltsplatzhalter 4"/>
          <p:cNvSpPr>
            <a:spLocks noGrp="1"/>
          </p:cNvSpPr>
          <p:nvPr>
            <p:ph sz="quarter" idx="17"/>
          </p:nvPr>
        </p:nvSpPr>
        <p:spPr bwMode="gray">
          <a:xfrm>
            <a:off x="8111094" y="1520825"/>
            <a:ext cx="3565525" cy="4608513"/>
          </a:xfr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3576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links und recht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7" name="Foliennummernplatzhalter 6"/>
          <p:cNvSpPr>
            <a:spLocks noGrp="1"/>
          </p:cNvSpPr>
          <p:nvPr>
            <p:ph type="sldNum" sz="quarter" idx="12"/>
          </p:nvPr>
        </p:nvSpPr>
        <p:spPr bwMode="gray"/>
        <p:txBody>
          <a:bodyPr/>
          <a:lstStyle/>
          <a:p>
            <a:fld id="{D45191E9-993A-4B71-A5D0-51B0F1A4B1BB}" type="slidenum">
              <a:rPr lang="de-DE" smtClean="0"/>
              <a:pPr/>
              <a:t>‹Nr.›</a:t>
            </a:fld>
            <a:endParaRPr lang="de-DE"/>
          </a:p>
        </p:txBody>
      </p:sp>
      <p:sp>
        <p:nvSpPr>
          <p:cNvPr id="12" name="Bildplatzhalter 11"/>
          <p:cNvSpPr>
            <a:spLocks noGrp="1"/>
          </p:cNvSpPr>
          <p:nvPr>
            <p:ph type="pic" sz="quarter" idx="14"/>
          </p:nvPr>
        </p:nvSpPr>
        <p:spPr bwMode="gray">
          <a:xfrm>
            <a:off x="6167437" y="1557338"/>
            <a:ext cx="5508625" cy="4572000"/>
          </a:xfrm>
        </p:spPr>
        <p:txBody>
          <a:bodyPr>
            <a:noAutofit/>
          </a:bodyPr>
          <a:lstStyle>
            <a:lvl1pPr>
              <a:spcBef>
                <a:spcPts val="0"/>
              </a:spcBef>
              <a:defRPr/>
            </a:lvl1pPr>
          </a:lstStyle>
          <a:p>
            <a:r>
              <a:rPr lang="de-DE"/>
              <a:t>Bild durch Klicken auf Symbol hinzufügen</a:t>
            </a:r>
          </a:p>
        </p:txBody>
      </p:sp>
      <p:sp>
        <p:nvSpPr>
          <p:cNvPr id="6" name="Bildplatzhalter 11"/>
          <p:cNvSpPr>
            <a:spLocks noGrp="1"/>
          </p:cNvSpPr>
          <p:nvPr>
            <p:ph type="pic" sz="quarter" idx="15"/>
          </p:nvPr>
        </p:nvSpPr>
        <p:spPr bwMode="gray">
          <a:xfrm>
            <a:off x="515937" y="1557338"/>
            <a:ext cx="5508625" cy="4572000"/>
          </a:xfrm>
        </p:spPr>
        <p:txBody>
          <a:bodyPr>
            <a:noAutofit/>
          </a:bodyPr>
          <a:lstStyle>
            <a:lvl1pPr>
              <a:spcBef>
                <a:spcPts val="0"/>
              </a:spcBef>
              <a:defRPr/>
            </a:lvl1pPr>
          </a:lstStyle>
          <a:p>
            <a:r>
              <a:rPr lang="de-DE"/>
              <a:t>Bild durch Klicken auf Symbol hinzufügen</a:t>
            </a:r>
          </a:p>
        </p:txBody>
      </p:sp>
    </p:spTree>
    <p:extLst>
      <p:ext uri="{BB962C8B-B14F-4D97-AF65-F5344CB8AC3E}">
        <p14:creationId xmlns:p14="http://schemas.microsoft.com/office/powerpoint/2010/main" val="1122335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ild + großer Layer 01">
    <p:bg>
      <p:bgPr>
        <a:solidFill>
          <a:schemeClr val="bg1"/>
        </a:solidFill>
        <a:effectLst/>
      </p:bgPr>
    </p:bg>
    <p:spTree>
      <p:nvGrpSpPr>
        <p:cNvPr id="1" name=""/>
        <p:cNvGrpSpPr/>
        <p:nvPr/>
      </p:nvGrpSpPr>
      <p:grpSpPr>
        <a:xfrm>
          <a:off x="0" y="0"/>
          <a:ext cx="0" cy="0"/>
          <a:chOff x="0" y="0"/>
          <a:chExt cx="0" cy="0"/>
        </a:xfrm>
      </p:grpSpPr>
      <p:sp>
        <p:nvSpPr>
          <p:cNvPr id="27" name="Bildplatzhalter 26"/>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rgbClr val="E7E7E8"/>
          </a:solidFill>
        </p:spPr>
        <p:txBody>
          <a:bodyPr wrap="square">
            <a:noAutofit/>
          </a:bodyPr>
          <a:lstStyle/>
          <a:p>
            <a:r>
              <a:rPr lang="de-DE"/>
              <a:t>Bild durch Klicken auf Symbol hinzufügen</a:t>
            </a:r>
          </a:p>
        </p:txBody>
      </p:sp>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137907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12" name="Objek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el 13"/>
          <p:cNvSpPr>
            <a:spLocks noGrp="1"/>
          </p:cNvSpPr>
          <p:nvPr>
            <p:ph type="ctrTitle" hasCustomPrompt="1"/>
          </p:nvPr>
        </p:nvSpPr>
        <p:spPr bwMode="gray">
          <a:xfrm>
            <a:off x="1" y="2381"/>
            <a:ext cx="7330060" cy="6863579"/>
          </a:xfrm>
          <a:custGeom>
            <a:avLst/>
            <a:gdLst>
              <a:gd name="connsiteX0" fmla="*/ 0 w 7328853"/>
              <a:gd name="connsiteY0" fmla="*/ 0 h 6858000"/>
              <a:gd name="connsiteX1" fmla="*/ 38666 w 7328853"/>
              <a:gd name="connsiteY1" fmla="*/ 0 h 6858000"/>
              <a:gd name="connsiteX2" fmla="*/ 155340 w 7328853"/>
              <a:gd name="connsiteY2" fmla="*/ 0 h 6858000"/>
              <a:gd name="connsiteX3" fmla="*/ 155340 w 7328853"/>
              <a:gd name="connsiteY3" fmla="*/ 32 h 6858000"/>
              <a:gd name="connsiteX4" fmla="*/ 4582309 w 7328853"/>
              <a:gd name="connsiteY4" fmla="*/ 1240 h 6858000"/>
              <a:gd name="connsiteX5" fmla="*/ 4690137 w 7328853"/>
              <a:gd name="connsiteY5" fmla="*/ 1240 h 6858000"/>
              <a:gd name="connsiteX6" fmla="*/ 4759543 w 7328853"/>
              <a:gd name="connsiteY6" fmla="*/ 1240 h 6858000"/>
              <a:gd name="connsiteX7" fmla="*/ 4823992 w 7328853"/>
              <a:gd name="connsiteY7" fmla="*/ 1240 h 6858000"/>
              <a:gd name="connsiteX8" fmla="*/ 4956608 w 7328853"/>
              <a:gd name="connsiteY8" fmla="*/ 1240 h 6858000"/>
              <a:gd name="connsiteX9" fmla="*/ 5070633 w 7328853"/>
              <a:gd name="connsiteY9" fmla="*/ 1240 h 6858000"/>
              <a:gd name="connsiteX10" fmla="*/ 5184658 w 7328853"/>
              <a:gd name="connsiteY10" fmla="*/ 1240 h 6858000"/>
              <a:gd name="connsiteX11" fmla="*/ 5261501 w 7328853"/>
              <a:gd name="connsiteY11" fmla="*/ 1240 h 6858000"/>
              <a:gd name="connsiteX12" fmla="*/ 5361892 w 7328853"/>
              <a:gd name="connsiteY12" fmla="*/ 1240 h 6858000"/>
              <a:gd name="connsiteX13" fmla="*/ 5406511 w 7328853"/>
              <a:gd name="connsiteY13" fmla="*/ 1240 h 6858000"/>
              <a:gd name="connsiteX14" fmla="*/ 5508141 w 7328853"/>
              <a:gd name="connsiteY14" fmla="*/ 1240 h 6858000"/>
              <a:gd name="connsiteX15" fmla="*/ 5756021 w 7328853"/>
              <a:gd name="connsiteY15" fmla="*/ 1240 h 6858000"/>
              <a:gd name="connsiteX16" fmla="*/ 5894834 w 7328853"/>
              <a:gd name="connsiteY16" fmla="*/ 1240 h 6858000"/>
              <a:gd name="connsiteX17" fmla="*/ 6085702 w 7328853"/>
              <a:gd name="connsiteY17" fmla="*/ 39670 h 6858000"/>
              <a:gd name="connsiteX18" fmla="*/ 6181136 w 7328853"/>
              <a:gd name="connsiteY18" fmla="*/ 59505 h 6858000"/>
              <a:gd name="connsiteX19" fmla="*/ 6484789 w 7328853"/>
              <a:gd name="connsiteY19" fmla="*/ 128928 h 6858000"/>
              <a:gd name="connsiteX20" fmla="*/ 6606250 w 7328853"/>
              <a:gd name="connsiteY20" fmla="*/ 163640 h 6858000"/>
              <a:gd name="connsiteX21" fmla="*/ 6877679 w 7328853"/>
              <a:gd name="connsiteY21" fmla="*/ 256617 h 6858000"/>
              <a:gd name="connsiteX22" fmla="*/ 7167699 w 7328853"/>
              <a:gd name="connsiteY22" fmla="*/ 409100 h 6858000"/>
              <a:gd name="connsiteX23" fmla="*/ 7328821 w 7328853"/>
              <a:gd name="connsiteY23" fmla="*/ 732661 h 6858000"/>
              <a:gd name="connsiteX24" fmla="*/ 7249499 w 7328853"/>
              <a:gd name="connsiteY24" fmla="*/ 1315318 h 6858000"/>
              <a:gd name="connsiteX25" fmla="*/ 6824385 w 7328853"/>
              <a:gd name="connsiteY25" fmla="*/ 2616999 h 6858000"/>
              <a:gd name="connsiteX26" fmla="*/ 5899792 w 7328853"/>
              <a:gd name="connsiteY26" fmla="*/ 4748037 h 6858000"/>
              <a:gd name="connsiteX27" fmla="*/ 4868611 w 7328853"/>
              <a:gd name="connsiteY27" fmla="*/ 6824528 h 6858000"/>
              <a:gd name="connsiteX28" fmla="*/ 4822753 w 7328853"/>
              <a:gd name="connsiteY28" fmla="*/ 6851802 h 6858000"/>
              <a:gd name="connsiteX29" fmla="*/ 4525297 w 7328853"/>
              <a:gd name="connsiteY29" fmla="*/ 6850562 h 6858000"/>
              <a:gd name="connsiteX30" fmla="*/ 4372850 w 7328853"/>
              <a:gd name="connsiteY30" fmla="*/ 6850562 h 6858000"/>
              <a:gd name="connsiteX31" fmla="*/ 4322035 w 7328853"/>
              <a:gd name="connsiteY31" fmla="*/ 6850562 h 6858000"/>
              <a:gd name="connsiteX32" fmla="*/ 4227841 w 7328853"/>
              <a:gd name="connsiteY32" fmla="*/ 6850562 h 6858000"/>
              <a:gd name="connsiteX33" fmla="*/ 4144801 w 7328853"/>
              <a:gd name="connsiteY33" fmla="*/ 6850562 h 6858000"/>
              <a:gd name="connsiteX34" fmla="*/ 4075394 w 7328853"/>
              <a:gd name="connsiteY34" fmla="*/ 6850562 h 6858000"/>
              <a:gd name="connsiteX35" fmla="*/ 4036973 w 7328853"/>
              <a:gd name="connsiteY35" fmla="*/ 6850562 h 6858000"/>
              <a:gd name="connsiteX36" fmla="*/ 3967566 w 7328853"/>
              <a:gd name="connsiteY36" fmla="*/ 6850562 h 6858000"/>
              <a:gd name="connsiteX37" fmla="*/ 3859738 w 7328853"/>
              <a:gd name="connsiteY37" fmla="*/ 6850562 h 6858000"/>
              <a:gd name="connsiteX38" fmla="*/ 3782896 w 7328853"/>
              <a:gd name="connsiteY38" fmla="*/ 6850562 h 6858000"/>
              <a:gd name="connsiteX39" fmla="*/ 3682504 w 7328853"/>
              <a:gd name="connsiteY39" fmla="*/ 6850562 h 6858000"/>
              <a:gd name="connsiteX40" fmla="*/ 3564761 w 7328853"/>
              <a:gd name="connsiteY40" fmla="*/ 6850562 h 6858000"/>
              <a:gd name="connsiteX41" fmla="*/ 3559803 w 7328853"/>
              <a:gd name="connsiteY41" fmla="*/ 6854281 h 6858000"/>
              <a:gd name="connsiteX42" fmla="*/ 3523861 w 7328853"/>
              <a:gd name="connsiteY42" fmla="*/ 6854281 h 6858000"/>
              <a:gd name="connsiteX43" fmla="*/ 155340 w 7328853"/>
              <a:gd name="connsiteY43" fmla="*/ 6854281 h 6858000"/>
              <a:gd name="connsiteX44" fmla="*/ 155340 w 7328853"/>
              <a:gd name="connsiteY44" fmla="*/ 6858000 h 6858000"/>
              <a:gd name="connsiteX45" fmla="*/ 0 w 7328853"/>
              <a:gd name="connsiteY45" fmla="*/ 685800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22753 w 7330060"/>
              <a:gd name="connsiteY28" fmla="*/ 6851802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155340 w 7330060"/>
              <a:gd name="connsiteY43" fmla="*/ 6858000 h 6860284"/>
              <a:gd name="connsiteX44" fmla="*/ 0 w 7330060"/>
              <a:gd name="connsiteY44" fmla="*/ 6858000 h 6860284"/>
              <a:gd name="connsiteX45" fmla="*/ 0 w 7330060"/>
              <a:gd name="connsiteY4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64761 w 7330060"/>
              <a:gd name="connsiteY39" fmla="*/ 6850562 h 6860284"/>
              <a:gd name="connsiteX40" fmla="*/ 3523861 w 7330060"/>
              <a:gd name="connsiteY40" fmla="*/ 6854281 h 6860284"/>
              <a:gd name="connsiteX41" fmla="*/ 191343 w 7330060"/>
              <a:gd name="connsiteY41" fmla="*/ 6858000 h 6860284"/>
              <a:gd name="connsiteX42" fmla="*/ 0 w 7330060"/>
              <a:gd name="connsiteY42" fmla="*/ 6858000 h 6860284"/>
              <a:gd name="connsiteX43" fmla="*/ 0 w 7330060"/>
              <a:gd name="connsiteY43"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23861 w 7330060"/>
              <a:gd name="connsiteY39" fmla="*/ 6854281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03711 w 7330060"/>
              <a:gd name="connsiteY39" fmla="*/ 6858000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503711 w 7330060"/>
              <a:gd name="connsiteY38" fmla="*/ 6858000 h 6860284"/>
              <a:gd name="connsiteX39" fmla="*/ 191343 w 7330060"/>
              <a:gd name="connsiteY39" fmla="*/ 6858000 h 6860284"/>
              <a:gd name="connsiteX40" fmla="*/ 0 w 7330060"/>
              <a:gd name="connsiteY40" fmla="*/ 6858000 h 6860284"/>
              <a:gd name="connsiteX41" fmla="*/ 0 w 7330060"/>
              <a:gd name="connsiteY41"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503711 w 7330060"/>
              <a:gd name="connsiteY37" fmla="*/ 6858000 h 6860284"/>
              <a:gd name="connsiteX38" fmla="*/ 191343 w 7330060"/>
              <a:gd name="connsiteY38" fmla="*/ 6858000 h 6860284"/>
              <a:gd name="connsiteX39" fmla="*/ 0 w 7330060"/>
              <a:gd name="connsiteY39" fmla="*/ 6858000 h 6860284"/>
              <a:gd name="connsiteX40" fmla="*/ 0 w 7330060"/>
              <a:gd name="connsiteY40"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503711 w 7330060"/>
              <a:gd name="connsiteY36" fmla="*/ 6858000 h 6860284"/>
              <a:gd name="connsiteX37" fmla="*/ 191343 w 7330060"/>
              <a:gd name="connsiteY37" fmla="*/ 6858000 h 6860284"/>
              <a:gd name="connsiteX38" fmla="*/ 0 w 7330060"/>
              <a:gd name="connsiteY38" fmla="*/ 6858000 h 6860284"/>
              <a:gd name="connsiteX39" fmla="*/ 0 w 7330060"/>
              <a:gd name="connsiteY39"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3503711 w 7330060"/>
              <a:gd name="connsiteY35" fmla="*/ 6858000 h 6860284"/>
              <a:gd name="connsiteX36" fmla="*/ 191343 w 7330060"/>
              <a:gd name="connsiteY36" fmla="*/ 6858000 h 6860284"/>
              <a:gd name="connsiteX37" fmla="*/ 0 w 7330060"/>
              <a:gd name="connsiteY37" fmla="*/ 6858000 h 6860284"/>
              <a:gd name="connsiteX38" fmla="*/ 0 w 7330060"/>
              <a:gd name="connsiteY38"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3503711 w 7330060"/>
              <a:gd name="connsiteY34" fmla="*/ 6858000 h 6860284"/>
              <a:gd name="connsiteX35" fmla="*/ 191343 w 7330060"/>
              <a:gd name="connsiteY35" fmla="*/ 6858000 h 6860284"/>
              <a:gd name="connsiteX36" fmla="*/ 0 w 7330060"/>
              <a:gd name="connsiteY36" fmla="*/ 6858000 h 6860284"/>
              <a:gd name="connsiteX37" fmla="*/ 0 w 7330060"/>
              <a:gd name="connsiteY37"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144801 w 7330060"/>
              <a:gd name="connsiteY32" fmla="*/ 6850562 h 6860284"/>
              <a:gd name="connsiteX33" fmla="*/ 3503711 w 7330060"/>
              <a:gd name="connsiteY33" fmla="*/ 6858000 h 6860284"/>
              <a:gd name="connsiteX34" fmla="*/ 191343 w 7330060"/>
              <a:gd name="connsiteY34" fmla="*/ 6858000 h 6860284"/>
              <a:gd name="connsiteX35" fmla="*/ 0 w 7330060"/>
              <a:gd name="connsiteY35" fmla="*/ 6858000 h 6860284"/>
              <a:gd name="connsiteX36" fmla="*/ 0 w 7330060"/>
              <a:gd name="connsiteY36"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3503711 w 7330060"/>
              <a:gd name="connsiteY32" fmla="*/ 6858000 h 6860284"/>
              <a:gd name="connsiteX33" fmla="*/ 191343 w 7330060"/>
              <a:gd name="connsiteY33" fmla="*/ 6858000 h 6860284"/>
              <a:gd name="connsiteX34" fmla="*/ 0 w 7330060"/>
              <a:gd name="connsiteY34" fmla="*/ 6858000 h 6860284"/>
              <a:gd name="connsiteX35" fmla="*/ 0 w 7330060"/>
              <a:gd name="connsiteY3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3503711 w 7330060"/>
              <a:gd name="connsiteY31" fmla="*/ 6858000 h 6860284"/>
              <a:gd name="connsiteX32" fmla="*/ 191343 w 7330060"/>
              <a:gd name="connsiteY32" fmla="*/ 6858000 h 6860284"/>
              <a:gd name="connsiteX33" fmla="*/ 0 w 7330060"/>
              <a:gd name="connsiteY33" fmla="*/ 6858000 h 6860284"/>
              <a:gd name="connsiteX34" fmla="*/ 0 w 7330060"/>
              <a:gd name="connsiteY3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3503711 w 7330060"/>
              <a:gd name="connsiteY30" fmla="*/ 6858000 h 6860284"/>
              <a:gd name="connsiteX31" fmla="*/ 191343 w 7330060"/>
              <a:gd name="connsiteY31" fmla="*/ 6858000 h 6860284"/>
              <a:gd name="connsiteX32" fmla="*/ 0 w 7330060"/>
              <a:gd name="connsiteY32" fmla="*/ 6858000 h 6860284"/>
              <a:gd name="connsiteX33" fmla="*/ 0 w 7330060"/>
              <a:gd name="connsiteY33" fmla="*/ 0 h 6860284"/>
              <a:gd name="connsiteX0" fmla="*/ 0 w 7330060"/>
              <a:gd name="connsiteY0" fmla="*/ 0 h 6863579"/>
              <a:gd name="connsiteX1" fmla="*/ 38666 w 7330060"/>
              <a:gd name="connsiteY1" fmla="*/ 0 h 6863579"/>
              <a:gd name="connsiteX2" fmla="*/ 155340 w 7330060"/>
              <a:gd name="connsiteY2" fmla="*/ 0 h 6863579"/>
              <a:gd name="connsiteX3" fmla="*/ 155340 w 7330060"/>
              <a:gd name="connsiteY3" fmla="*/ 32 h 6863579"/>
              <a:gd name="connsiteX4" fmla="*/ 4582309 w 7330060"/>
              <a:gd name="connsiteY4" fmla="*/ 1240 h 6863579"/>
              <a:gd name="connsiteX5" fmla="*/ 4690137 w 7330060"/>
              <a:gd name="connsiteY5" fmla="*/ 1240 h 6863579"/>
              <a:gd name="connsiteX6" fmla="*/ 4759543 w 7330060"/>
              <a:gd name="connsiteY6" fmla="*/ 1240 h 6863579"/>
              <a:gd name="connsiteX7" fmla="*/ 4823992 w 7330060"/>
              <a:gd name="connsiteY7" fmla="*/ 1240 h 6863579"/>
              <a:gd name="connsiteX8" fmla="*/ 4956608 w 7330060"/>
              <a:gd name="connsiteY8" fmla="*/ 1240 h 6863579"/>
              <a:gd name="connsiteX9" fmla="*/ 5070633 w 7330060"/>
              <a:gd name="connsiteY9" fmla="*/ 1240 h 6863579"/>
              <a:gd name="connsiteX10" fmla="*/ 5184658 w 7330060"/>
              <a:gd name="connsiteY10" fmla="*/ 1240 h 6863579"/>
              <a:gd name="connsiteX11" fmla="*/ 5261501 w 7330060"/>
              <a:gd name="connsiteY11" fmla="*/ 1240 h 6863579"/>
              <a:gd name="connsiteX12" fmla="*/ 5361892 w 7330060"/>
              <a:gd name="connsiteY12" fmla="*/ 1240 h 6863579"/>
              <a:gd name="connsiteX13" fmla="*/ 5406511 w 7330060"/>
              <a:gd name="connsiteY13" fmla="*/ 1240 h 6863579"/>
              <a:gd name="connsiteX14" fmla="*/ 5508141 w 7330060"/>
              <a:gd name="connsiteY14" fmla="*/ 1240 h 6863579"/>
              <a:gd name="connsiteX15" fmla="*/ 5756021 w 7330060"/>
              <a:gd name="connsiteY15" fmla="*/ 1240 h 6863579"/>
              <a:gd name="connsiteX16" fmla="*/ 5894834 w 7330060"/>
              <a:gd name="connsiteY16" fmla="*/ 1240 h 6863579"/>
              <a:gd name="connsiteX17" fmla="*/ 6085702 w 7330060"/>
              <a:gd name="connsiteY17" fmla="*/ 39670 h 6863579"/>
              <a:gd name="connsiteX18" fmla="*/ 6181136 w 7330060"/>
              <a:gd name="connsiteY18" fmla="*/ 59505 h 6863579"/>
              <a:gd name="connsiteX19" fmla="*/ 6484789 w 7330060"/>
              <a:gd name="connsiteY19" fmla="*/ 128928 h 6863579"/>
              <a:gd name="connsiteX20" fmla="*/ 6606250 w 7330060"/>
              <a:gd name="connsiteY20" fmla="*/ 163640 h 6863579"/>
              <a:gd name="connsiteX21" fmla="*/ 6877679 w 7330060"/>
              <a:gd name="connsiteY21" fmla="*/ 256617 h 6863579"/>
              <a:gd name="connsiteX22" fmla="*/ 7167699 w 7330060"/>
              <a:gd name="connsiteY22" fmla="*/ 409100 h 6863579"/>
              <a:gd name="connsiteX23" fmla="*/ 7328821 w 7330060"/>
              <a:gd name="connsiteY23" fmla="*/ 732661 h 6863579"/>
              <a:gd name="connsiteX24" fmla="*/ 7249499 w 7330060"/>
              <a:gd name="connsiteY24" fmla="*/ 1315318 h 6863579"/>
              <a:gd name="connsiteX25" fmla="*/ 6824385 w 7330060"/>
              <a:gd name="connsiteY25" fmla="*/ 2616999 h 6863579"/>
              <a:gd name="connsiteX26" fmla="*/ 5899792 w 7330060"/>
              <a:gd name="connsiteY26" fmla="*/ 4748037 h 6863579"/>
              <a:gd name="connsiteX27" fmla="*/ 4868611 w 7330060"/>
              <a:gd name="connsiteY27" fmla="*/ 6824528 h 6863579"/>
              <a:gd name="connsiteX28" fmla="*/ 4799855 w 7330060"/>
              <a:gd name="connsiteY28" fmla="*/ 6858000 h 6863579"/>
              <a:gd name="connsiteX29" fmla="*/ 3503711 w 7330060"/>
              <a:gd name="connsiteY29" fmla="*/ 6858000 h 6863579"/>
              <a:gd name="connsiteX30" fmla="*/ 191343 w 7330060"/>
              <a:gd name="connsiteY30" fmla="*/ 6858000 h 6863579"/>
              <a:gd name="connsiteX31" fmla="*/ 0 w 7330060"/>
              <a:gd name="connsiteY31" fmla="*/ 6858000 h 6863579"/>
              <a:gd name="connsiteX32" fmla="*/ 0 w 7330060"/>
              <a:gd name="connsiteY32" fmla="*/ 0 h 68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30060" h="6863579">
                <a:moveTo>
                  <a:pt x="0" y="0"/>
                </a:moveTo>
                <a:lnTo>
                  <a:pt x="38666" y="0"/>
                </a:lnTo>
                <a:lnTo>
                  <a:pt x="155340" y="0"/>
                </a:lnTo>
                <a:lnTo>
                  <a:pt x="155340" y="32"/>
                </a:lnTo>
                <a:lnTo>
                  <a:pt x="4582309" y="1240"/>
                </a:lnTo>
                <a:lnTo>
                  <a:pt x="4690137" y="1240"/>
                </a:lnTo>
                <a:lnTo>
                  <a:pt x="4759543" y="1240"/>
                </a:lnTo>
                <a:lnTo>
                  <a:pt x="4823992" y="1240"/>
                </a:lnTo>
                <a:lnTo>
                  <a:pt x="4956608" y="1240"/>
                </a:lnTo>
                <a:lnTo>
                  <a:pt x="5070633" y="1240"/>
                </a:lnTo>
                <a:lnTo>
                  <a:pt x="5184658" y="1240"/>
                </a:lnTo>
                <a:lnTo>
                  <a:pt x="5261501" y="1240"/>
                </a:lnTo>
                <a:lnTo>
                  <a:pt x="5361892" y="1240"/>
                </a:lnTo>
                <a:lnTo>
                  <a:pt x="5406511" y="1240"/>
                </a:lnTo>
                <a:lnTo>
                  <a:pt x="5508141" y="1240"/>
                </a:lnTo>
                <a:lnTo>
                  <a:pt x="5756021" y="1240"/>
                </a:lnTo>
                <a:lnTo>
                  <a:pt x="5894834" y="1240"/>
                </a:lnTo>
                <a:cubicBezTo>
                  <a:pt x="5956804" y="19835"/>
                  <a:pt x="6022493" y="24794"/>
                  <a:pt x="6085702" y="39670"/>
                </a:cubicBezTo>
                <a:cubicBezTo>
                  <a:pt x="6116687" y="47109"/>
                  <a:pt x="6148911" y="53307"/>
                  <a:pt x="6181136" y="59505"/>
                </a:cubicBezTo>
                <a:cubicBezTo>
                  <a:pt x="6282767" y="78101"/>
                  <a:pt x="6384398" y="102895"/>
                  <a:pt x="6484789" y="128928"/>
                </a:cubicBezTo>
                <a:cubicBezTo>
                  <a:pt x="6525689" y="138846"/>
                  <a:pt x="6566589" y="148764"/>
                  <a:pt x="6606250" y="163640"/>
                </a:cubicBezTo>
                <a:cubicBezTo>
                  <a:pt x="6699205" y="188434"/>
                  <a:pt x="6789682" y="218187"/>
                  <a:pt x="6877679" y="256617"/>
                </a:cubicBezTo>
                <a:cubicBezTo>
                  <a:pt x="6981789" y="295048"/>
                  <a:pt x="7078462" y="344636"/>
                  <a:pt x="7167699" y="409100"/>
                </a:cubicBezTo>
                <a:cubicBezTo>
                  <a:pt x="7279245" y="489680"/>
                  <a:pt x="7327581" y="597534"/>
                  <a:pt x="7328821" y="732661"/>
                </a:cubicBezTo>
                <a:cubicBezTo>
                  <a:pt x="7330060" y="931012"/>
                  <a:pt x="7295357" y="1124405"/>
                  <a:pt x="7249499" y="1315318"/>
                </a:cubicBezTo>
                <a:cubicBezTo>
                  <a:pt x="7142911" y="1760369"/>
                  <a:pt x="6989225" y="2190544"/>
                  <a:pt x="6824385" y="2616999"/>
                </a:cubicBezTo>
                <a:cubicBezTo>
                  <a:pt x="6545520" y="3340982"/>
                  <a:pt x="6229473" y="4047609"/>
                  <a:pt x="5899792" y="4748037"/>
                </a:cubicBezTo>
                <a:cubicBezTo>
                  <a:pt x="5571351" y="5447226"/>
                  <a:pt x="5225558" y="6138976"/>
                  <a:pt x="4868611" y="6824528"/>
                </a:cubicBezTo>
                <a:cubicBezTo>
                  <a:pt x="4858695" y="6844364"/>
                  <a:pt x="4823403" y="6858000"/>
                  <a:pt x="4799855" y="6858000"/>
                </a:cubicBezTo>
                <a:cubicBezTo>
                  <a:pt x="4572372" y="6863579"/>
                  <a:pt x="4271796" y="6858000"/>
                  <a:pt x="3503711" y="6858000"/>
                </a:cubicBezTo>
                <a:lnTo>
                  <a:pt x="191343" y="6858000"/>
                </a:lnTo>
                <a:lnTo>
                  <a:pt x="0" y="6858000"/>
                </a:lnTo>
                <a:lnTo>
                  <a:pt x="0" y="0"/>
                </a:lnTo>
                <a:close/>
              </a:path>
            </a:pathLst>
          </a:custGeom>
          <a:gradFill>
            <a:gsLst>
              <a:gs pos="69000">
                <a:schemeClr val="bg2"/>
              </a:gs>
              <a:gs pos="0">
                <a:schemeClr val="accent1"/>
              </a:gs>
              <a:gs pos="88000">
                <a:schemeClr val="accent1">
                  <a:alpha val="60000"/>
                </a:schemeClr>
              </a:gs>
            </a:gsLst>
            <a:lin ang="600000" scaled="0"/>
          </a:gradFill>
        </p:spPr>
        <p:txBody>
          <a:bodyPr wrap="square" lIns="504000" tIns="360000" rIns="1260000" bIns="3780000" anchor="b" anchorCtr="0">
            <a:noAutofit/>
          </a:bodyPr>
          <a:lstStyle>
            <a:lvl1pPr algn="l">
              <a:defRPr sz="4000" baseline="0">
                <a:solidFill>
                  <a:schemeClr val="bg1"/>
                </a:solidFill>
              </a:defRPr>
            </a:lvl1pPr>
          </a:lstStyle>
          <a:p>
            <a:r>
              <a:rPr lang="de-DE"/>
              <a:t>Titelmasterformat durch  Klicken bearbeiten</a:t>
            </a:r>
          </a:p>
        </p:txBody>
      </p:sp>
      <p:sp>
        <p:nvSpPr>
          <p:cNvPr id="10" name="Textplatzhalter 9"/>
          <p:cNvSpPr>
            <a:spLocks noGrp="1"/>
          </p:cNvSpPr>
          <p:nvPr>
            <p:ph type="body" sz="quarter" idx="11" hasCustomPrompt="1"/>
          </p:nvPr>
        </p:nvSpPr>
        <p:spPr>
          <a:xfrm>
            <a:off x="514800" y="6129300"/>
            <a:ext cx="4032000"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sp>
        <p:nvSpPr>
          <p:cNvPr id="3" name="Untertitel 2"/>
          <p:cNvSpPr>
            <a:spLocks noGrp="1"/>
          </p:cNvSpPr>
          <p:nvPr>
            <p:ph type="subTitle" idx="1"/>
          </p:nvPr>
        </p:nvSpPr>
        <p:spPr>
          <a:xfrm>
            <a:off x="514800" y="3384000"/>
            <a:ext cx="4899347" cy="615553"/>
          </a:xfrm>
        </p:spPr>
        <p:txBody>
          <a:bodyPr>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cxnSp>
        <p:nvCxnSpPr>
          <p:cNvPr id="24"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6757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links und Textbox rechts">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953217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platzhalter 8"/>
          <p:cNvSpPr>
            <a:spLocks noGrp="1"/>
          </p:cNvSpPr>
          <p:nvPr>
            <p:ph type="body" sz="quarter" idx="14"/>
          </p:nvPr>
        </p:nvSpPr>
        <p:spPr bwMode="gray">
          <a:xfrm>
            <a:off x="6167437" y="1557338"/>
            <a:ext cx="5508625" cy="4572000"/>
          </a:xfrm>
          <a:solidFill>
            <a:srgbClr val="E7E7E8"/>
          </a:solidFill>
        </p:spPr>
        <p:txBody>
          <a:bodyPr lIns="108000" tIns="72000" rIns="108000" bIns="72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bwMode="gray"/>
        <p:txBody>
          <a:bodyPr/>
          <a:lstStyle/>
          <a:p>
            <a:r>
              <a:rPr lang="de-DE"/>
              <a:t>Titelmasterformat durch Klicken bearbeiten</a:t>
            </a:r>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
        <p:nvSpPr>
          <p:cNvPr id="4" name="Textplatzhalter 8"/>
          <p:cNvSpPr>
            <a:spLocks noGrp="1"/>
          </p:cNvSpPr>
          <p:nvPr>
            <p:ph type="body" sz="quarter" idx="13"/>
          </p:nvPr>
        </p:nvSpPr>
        <p:spPr bwMode="gray">
          <a:xfrm>
            <a:off x="515937" y="1520825"/>
            <a:ext cx="5508625" cy="4608513"/>
          </a:xfr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72526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box links und Text rech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59041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Folie" r:id="rId4" imgW="270" imgH="270" progId="TCLayout.ActiveDocument.1">
                  <p:embed/>
                </p:oleObj>
              </mc:Choice>
              <mc:Fallback>
                <p:oleObj name="think-cell Folie" r:id="rId4" imgW="270" imgH="270" progId="TCLayout.ActiveDocument.1">
                  <p:embed/>
                  <p:pic>
                    <p:nvPicPr>
                      <p:cNvPr id="7" name="Objek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platzhalter 8"/>
          <p:cNvSpPr>
            <a:spLocks noGrp="1"/>
          </p:cNvSpPr>
          <p:nvPr>
            <p:ph type="body" sz="quarter" idx="13"/>
          </p:nvPr>
        </p:nvSpPr>
        <p:spPr bwMode="gray">
          <a:xfrm>
            <a:off x="6167437" y="1520825"/>
            <a:ext cx="5508625" cy="4608513"/>
          </a:xfr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8"/>
          <p:cNvSpPr>
            <a:spLocks noGrp="1"/>
          </p:cNvSpPr>
          <p:nvPr>
            <p:ph type="body" sz="quarter" idx="14"/>
          </p:nvPr>
        </p:nvSpPr>
        <p:spPr bwMode="gray">
          <a:xfrm>
            <a:off x="515938" y="1557338"/>
            <a:ext cx="5508625" cy="4572000"/>
          </a:xfrm>
          <a:solidFill>
            <a:srgbClr val="E7E7E8"/>
          </a:solidFill>
        </p:spPr>
        <p:txBody>
          <a:bodyPr lIns="108000" tIns="72000" rIns="108000" bIns="72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bwMode="gray"/>
        <p:txBody>
          <a:bodyPr/>
          <a:lstStyle/>
          <a:p>
            <a:r>
              <a:rPr lang="de-DE"/>
              <a:t>Titelmasterformat durch Klicken bearbeiten</a:t>
            </a:r>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Tree>
    <p:extLst>
      <p:ext uri="{BB962C8B-B14F-4D97-AF65-F5344CB8AC3E}">
        <p14:creationId xmlns:p14="http://schemas.microsoft.com/office/powerpoint/2010/main" val="33487613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box">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
        <p:nvSpPr>
          <p:cNvPr id="4" name="Textplatzhalter 8"/>
          <p:cNvSpPr>
            <a:spLocks noGrp="1"/>
          </p:cNvSpPr>
          <p:nvPr>
            <p:ph type="body" sz="quarter" idx="14"/>
          </p:nvPr>
        </p:nvSpPr>
        <p:spPr bwMode="gray">
          <a:xfrm>
            <a:off x="515938" y="1557338"/>
            <a:ext cx="8964438" cy="4572000"/>
          </a:xfrm>
          <a:solidFill>
            <a:srgbClr val="E7E7E8"/>
          </a:solidFill>
        </p:spPr>
        <p:txBody>
          <a:bodyPr lIns="108000" tIns="72000" rIns="108000" bIns="72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869169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5" name="Foliennummernplatzhalter 4"/>
          <p:cNvSpPr>
            <a:spLocks noGrp="1"/>
          </p:cNvSpPr>
          <p:nvPr>
            <p:ph type="sldNum" sz="quarter" idx="12"/>
          </p:nvPr>
        </p:nvSpPr>
        <p:spPr bwMode="gray"/>
        <p:txBody>
          <a:bodyPr/>
          <a:lstStyle/>
          <a:p>
            <a:fld id="{D45191E9-993A-4B71-A5D0-51B0F1A4B1BB}" type="slidenum">
              <a:rPr lang="de-DE" smtClean="0"/>
              <a:pPr/>
              <a:t>‹Nr.›</a:t>
            </a:fld>
            <a:endParaRPr lang="de-DE"/>
          </a:p>
        </p:txBody>
      </p:sp>
    </p:spTree>
    <p:extLst>
      <p:ext uri="{BB962C8B-B14F-4D97-AF65-F5344CB8AC3E}">
        <p14:creationId xmlns:p14="http://schemas.microsoft.com/office/powerpoint/2010/main" val="1219280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bwMode="gray"/>
        <p:txBody>
          <a:bodyPr/>
          <a:lstStyle/>
          <a:p>
            <a:fld id="{D45191E9-993A-4B71-A5D0-51B0F1A4B1BB}" type="slidenum">
              <a:rPr lang="de-DE" smtClean="0"/>
              <a:pPr/>
              <a:t>‹Nr.›</a:t>
            </a:fld>
            <a:endParaRPr lang="de-DE"/>
          </a:p>
        </p:txBody>
      </p:sp>
    </p:spTree>
    <p:extLst>
      <p:ext uri="{BB962C8B-B14F-4D97-AF65-F5344CB8AC3E}">
        <p14:creationId xmlns:p14="http://schemas.microsoft.com/office/powerpoint/2010/main" val="14248368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ld: Textbox weiß">
    <p:spTree>
      <p:nvGrpSpPr>
        <p:cNvPr id="1" name=""/>
        <p:cNvGrpSpPr/>
        <p:nvPr/>
      </p:nvGrpSpPr>
      <p:grpSpPr>
        <a:xfrm>
          <a:off x="0" y="0"/>
          <a:ext cx="0" cy="0"/>
          <a:chOff x="0" y="0"/>
          <a:chExt cx="0" cy="0"/>
        </a:xfrm>
      </p:grpSpPr>
      <p:sp>
        <p:nvSpPr>
          <p:cNvPr id="5" name="Bildplatzhalter 4"/>
          <p:cNvSpPr>
            <a:spLocks noGrp="1"/>
          </p:cNvSpPr>
          <p:nvPr>
            <p:ph type="pic" sz="quarter" idx="10"/>
          </p:nvPr>
        </p:nvSpPr>
        <p:spPr bwMode="gray">
          <a:xfrm>
            <a:off x="0" y="0"/>
            <a:ext cx="12192000" cy="6858000"/>
          </a:xfrm>
          <a:solidFill>
            <a:srgbClr val="E7E7E8"/>
          </a:solidFill>
        </p:spPr>
        <p:txBody>
          <a:bodyPr/>
          <a:lstStyle>
            <a:lvl1pPr>
              <a:spcBef>
                <a:spcPts val="0"/>
              </a:spcBef>
              <a:defRPr/>
            </a:lvl1pPr>
          </a:lstStyle>
          <a:p>
            <a:r>
              <a:rPr lang="de-DE"/>
              <a:t>Bild durch Klicken auf Symbol hinzufügen</a:t>
            </a:r>
          </a:p>
        </p:txBody>
      </p:sp>
      <p:sp>
        <p:nvSpPr>
          <p:cNvPr id="8" name="Textplatzhalter 7"/>
          <p:cNvSpPr>
            <a:spLocks noGrp="1"/>
          </p:cNvSpPr>
          <p:nvPr>
            <p:ph type="body" sz="quarter" idx="11" hasCustomPrompt="1"/>
          </p:nvPr>
        </p:nvSpPr>
        <p:spPr bwMode="gray">
          <a:xfrm>
            <a:off x="493725" y="728700"/>
            <a:ext cx="9994763" cy="805551"/>
          </a:xfrm>
          <a:solidFill>
            <a:schemeClr val="bg1">
              <a:alpha val="85000"/>
            </a:schemeClr>
          </a:solidFill>
        </p:spPr>
        <p:txBody>
          <a:bodyPr wrap="square" lIns="216000" tIns="216000" rIns="216000" bIns="216000">
            <a:spAutoFit/>
          </a:bodyPr>
          <a:lstStyle>
            <a:lvl1pPr marL="0" indent="0">
              <a:spcBef>
                <a:spcPts val="0"/>
              </a:spcBef>
              <a:buFont typeface="Arial" panose="020B0604020202020204" pitchFamily="34" charset="0"/>
              <a:buNone/>
              <a:defRPr sz="2400">
                <a:solidFill>
                  <a:schemeClr val="tx1"/>
                </a:solidFill>
              </a:defRPr>
            </a:lvl1pPr>
            <a:lvl2pPr marL="0" indent="0">
              <a:spcBef>
                <a:spcPts val="0"/>
              </a:spcBef>
              <a:buFont typeface="Arial" panose="020B0604020202020204" pitchFamily="34" charset="0"/>
              <a:buNone/>
              <a:defRPr>
                <a:solidFill>
                  <a:schemeClr val="tx1"/>
                </a:solidFill>
              </a:defRPr>
            </a:lvl2pPr>
            <a:lvl3pPr marL="0" indent="0">
              <a:spcBef>
                <a:spcPts val="0"/>
              </a:spcBef>
              <a:buNone/>
              <a:defRPr>
                <a:solidFill>
                  <a:schemeClr val="tx1"/>
                </a:solidFill>
              </a:defRPr>
            </a:lvl3pPr>
            <a:lvl4pPr marL="0" indent="0">
              <a:spcBef>
                <a:spcPts val="0"/>
              </a:spcBef>
              <a:buNone/>
              <a:defRPr>
                <a:solidFill>
                  <a:schemeClr val="tx1"/>
                </a:solidFill>
              </a:defRPr>
            </a:lvl4pPr>
            <a:lvl5pPr marL="0" indent="0">
              <a:spcBef>
                <a:spcPts val="0"/>
              </a:spcBef>
              <a:buNone/>
              <a:defRPr>
                <a:solidFill>
                  <a:schemeClr val="tx1"/>
                </a:solidFill>
              </a:defRPr>
            </a:lvl5pPr>
          </a:lstStyle>
          <a:p>
            <a:pPr lvl="0"/>
            <a:r>
              <a:rPr lang="de-DE"/>
              <a:t>Textbotschaft einfügen</a:t>
            </a:r>
          </a:p>
        </p:txBody>
      </p:sp>
      <p:cxnSp>
        <p:nvCxnSpPr>
          <p:cNvPr id="18"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1120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ld: Textbox grau">
    <p:spTree>
      <p:nvGrpSpPr>
        <p:cNvPr id="1" name=""/>
        <p:cNvGrpSpPr/>
        <p:nvPr/>
      </p:nvGrpSpPr>
      <p:grpSpPr>
        <a:xfrm>
          <a:off x="0" y="0"/>
          <a:ext cx="0" cy="0"/>
          <a:chOff x="0" y="0"/>
          <a:chExt cx="0" cy="0"/>
        </a:xfrm>
      </p:grpSpPr>
      <p:sp>
        <p:nvSpPr>
          <p:cNvPr id="5" name="Bildplatzhalter 4"/>
          <p:cNvSpPr>
            <a:spLocks noGrp="1"/>
          </p:cNvSpPr>
          <p:nvPr>
            <p:ph type="pic" sz="quarter" idx="10"/>
          </p:nvPr>
        </p:nvSpPr>
        <p:spPr bwMode="gray">
          <a:xfrm>
            <a:off x="0" y="0"/>
            <a:ext cx="12192000" cy="6858000"/>
          </a:xfrm>
          <a:solidFill>
            <a:srgbClr val="E7E7E8"/>
          </a:solidFill>
        </p:spPr>
        <p:txBody>
          <a:bodyPr/>
          <a:lstStyle>
            <a:lvl1pPr>
              <a:spcBef>
                <a:spcPts val="0"/>
              </a:spcBef>
              <a:defRPr/>
            </a:lvl1pPr>
          </a:lstStyle>
          <a:p>
            <a:r>
              <a:rPr lang="de-DE"/>
              <a:t>Bild durch Klicken auf Symbol hinzufügen</a:t>
            </a:r>
          </a:p>
        </p:txBody>
      </p:sp>
      <p:sp>
        <p:nvSpPr>
          <p:cNvPr id="8" name="Textplatzhalter 7"/>
          <p:cNvSpPr>
            <a:spLocks noGrp="1"/>
          </p:cNvSpPr>
          <p:nvPr>
            <p:ph type="body" sz="quarter" idx="11" hasCustomPrompt="1"/>
          </p:nvPr>
        </p:nvSpPr>
        <p:spPr bwMode="gray">
          <a:xfrm>
            <a:off x="493725" y="728700"/>
            <a:ext cx="9994763" cy="805551"/>
          </a:xfrm>
          <a:solidFill>
            <a:schemeClr val="accent5">
              <a:alpha val="85000"/>
            </a:schemeClr>
          </a:solidFill>
        </p:spPr>
        <p:txBody>
          <a:bodyPr wrap="square" lIns="216000" tIns="216000" rIns="216000" bIns="216000">
            <a:spAutoFit/>
          </a:bodyPr>
          <a:lstStyle>
            <a:lvl1pPr marL="0" indent="0">
              <a:spcBef>
                <a:spcPts val="0"/>
              </a:spcBef>
              <a:buFont typeface="Arial" panose="020B0604020202020204" pitchFamily="34" charset="0"/>
              <a:buNone/>
              <a:defRPr sz="2400">
                <a:solidFill>
                  <a:schemeClr val="bg1"/>
                </a:solidFill>
              </a:defRPr>
            </a:lvl1pPr>
            <a:lvl2pPr marL="0" indent="0">
              <a:spcBef>
                <a:spcPts val="0"/>
              </a:spcBef>
              <a:buFont typeface="Arial" panose="020B0604020202020204" pitchFamily="34" charset="0"/>
              <a:buNone/>
              <a:defRPr>
                <a:solidFill>
                  <a:schemeClr val="tx1"/>
                </a:solidFill>
              </a:defRPr>
            </a:lvl2pPr>
            <a:lvl3pPr marL="0" indent="0">
              <a:spcBef>
                <a:spcPts val="0"/>
              </a:spcBef>
              <a:buNone/>
              <a:defRPr>
                <a:solidFill>
                  <a:schemeClr val="tx1"/>
                </a:solidFill>
              </a:defRPr>
            </a:lvl3pPr>
            <a:lvl4pPr marL="0" indent="0">
              <a:spcBef>
                <a:spcPts val="0"/>
              </a:spcBef>
              <a:buNone/>
              <a:defRPr>
                <a:solidFill>
                  <a:schemeClr val="tx1"/>
                </a:solidFill>
              </a:defRPr>
            </a:lvl4pPr>
            <a:lvl5pPr marL="0" indent="0">
              <a:spcBef>
                <a:spcPts val="0"/>
              </a:spcBef>
              <a:buNone/>
              <a:defRPr>
                <a:solidFill>
                  <a:schemeClr val="tx1"/>
                </a:solidFill>
              </a:defRPr>
            </a:lvl5pPr>
          </a:lstStyle>
          <a:p>
            <a:pPr lvl="0"/>
            <a:r>
              <a:rPr lang="de-DE"/>
              <a:t>Textbotschaft einfügen</a:t>
            </a:r>
          </a:p>
        </p:txBody>
      </p:sp>
      <p:cxnSp>
        <p:nvCxnSpPr>
          <p:cNvPr id="18"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308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rgbClr val="E7E7E8"/>
        </a:solidFill>
        <a:effectLst/>
      </p:bgPr>
    </p:bg>
    <p:spTree>
      <p:nvGrpSpPr>
        <p:cNvPr id="1" name=""/>
        <p:cNvGrpSpPr/>
        <p:nvPr/>
      </p:nvGrpSpPr>
      <p:grpSpPr>
        <a:xfrm>
          <a:off x="0" y="0"/>
          <a:ext cx="0" cy="0"/>
          <a:chOff x="0" y="0"/>
          <a:chExt cx="0" cy="0"/>
        </a:xfrm>
      </p:grpSpPr>
      <p:sp>
        <p:nvSpPr>
          <p:cNvPr id="20" name="Rechteck 1"/>
          <p:cNvSpPr/>
          <p:nvPr userDrawn="1"/>
        </p:nvSpPr>
        <p:spPr>
          <a:xfrm>
            <a:off x="8274942" y="5147834"/>
            <a:ext cx="3917058" cy="1710167"/>
          </a:xfrm>
          <a:custGeom>
            <a:avLst/>
            <a:gdLst/>
            <a:ahLst/>
            <a:cxnLst/>
            <a:rect l="l" t="t" r="r" b="b"/>
            <a:pathLst>
              <a:path w="3917058" h="1710167">
                <a:moveTo>
                  <a:pt x="3917058" y="0"/>
                </a:moveTo>
                <a:lnTo>
                  <a:pt x="3917058" y="1710167"/>
                </a:lnTo>
                <a:lnTo>
                  <a:pt x="840910" y="1710167"/>
                </a:lnTo>
                <a:lnTo>
                  <a:pt x="727105" y="1610865"/>
                </a:lnTo>
                <a:cubicBezTo>
                  <a:pt x="222631" y="1158465"/>
                  <a:pt x="-83749" y="791517"/>
                  <a:pt x="20207" y="655140"/>
                </a:cubicBezTo>
                <a:cubicBezTo>
                  <a:pt x="173335" y="462296"/>
                  <a:pt x="2343532" y="140010"/>
                  <a:pt x="391705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de-DE" sz="1600" err="1"/>
          </a:p>
        </p:txBody>
      </p:sp>
      <p:sp>
        <p:nvSpPr>
          <p:cNvPr id="3" name="Foliennummernplatzhalter 2"/>
          <p:cNvSpPr>
            <a:spLocks noGrp="1"/>
          </p:cNvSpPr>
          <p:nvPr>
            <p:ph type="sldNum" sz="quarter" idx="10"/>
          </p:nvPr>
        </p:nvSpPr>
        <p:spPr bwMode="gray"/>
        <p:txBody>
          <a:bodyPr/>
          <a:lstStyle/>
          <a:p>
            <a:fld id="{D45191E9-993A-4B71-A5D0-51B0F1A4B1BB}" type="slidenum">
              <a:rPr lang="de-DE" smtClean="0"/>
              <a:pPr/>
              <a:t>‹Nr.›</a:t>
            </a:fld>
            <a:endParaRPr lang="de-DE"/>
          </a:p>
        </p:txBody>
      </p:sp>
      <p:sp>
        <p:nvSpPr>
          <p:cNvPr id="7" name="Freeform 5"/>
          <p:cNvSpPr>
            <a:spLocks/>
          </p:cNvSpPr>
          <p:nvPr userDrawn="1"/>
        </p:nvSpPr>
        <p:spPr bwMode="gray">
          <a:xfrm>
            <a:off x="0" y="0"/>
            <a:ext cx="12192000" cy="6644245"/>
          </a:xfrm>
          <a:custGeom>
            <a:avLst/>
            <a:gdLst>
              <a:gd name="T0" fmla="*/ 6790 w 6794"/>
              <a:gd name="T1" fmla="*/ 22 h 3701"/>
              <a:gd name="T2" fmla="*/ 6790 w 6794"/>
              <a:gd name="T3" fmla="*/ 22 h 3701"/>
              <a:gd name="T4" fmla="*/ 6790 w 6794"/>
              <a:gd name="T5" fmla="*/ 22 h 3701"/>
              <a:gd name="T6" fmla="*/ 6791 w 6794"/>
              <a:gd name="T7" fmla="*/ 1 h 3701"/>
              <a:gd name="T8" fmla="*/ 6426 w 6794"/>
              <a:gd name="T9" fmla="*/ 1 h 3701"/>
              <a:gd name="T10" fmla="*/ 216 w 6794"/>
              <a:gd name="T11" fmla="*/ 1 h 3701"/>
              <a:gd name="T12" fmla="*/ 11 w 6794"/>
              <a:gd name="T13" fmla="*/ 0 h 3701"/>
              <a:gd name="T14" fmla="*/ 0 w 6794"/>
              <a:gd name="T15" fmla="*/ 11 h 3701"/>
              <a:gd name="T16" fmla="*/ 0 w 6794"/>
              <a:gd name="T17" fmla="*/ 78 h 3701"/>
              <a:gd name="T18" fmla="*/ 11 w 6794"/>
              <a:gd name="T19" fmla="*/ 110 h 3701"/>
              <a:gd name="T20" fmla="*/ 11 w 6794"/>
              <a:gd name="T21" fmla="*/ 110 h 3701"/>
              <a:gd name="T22" fmla="*/ 11 w 6794"/>
              <a:gd name="T23" fmla="*/ 110 h 3701"/>
              <a:gd name="T24" fmla="*/ 12 w 6794"/>
              <a:gd name="T25" fmla="*/ 117 h 3701"/>
              <a:gd name="T26" fmla="*/ 236 w 6794"/>
              <a:gd name="T27" fmla="*/ 926 h 3701"/>
              <a:gd name="T28" fmla="*/ 561 w 6794"/>
              <a:gd name="T29" fmla="*/ 1974 h 3701"/>
              <a:gd name="T30" fmla="*/ 864 w 6794"/>
              <a:gd name="T31" fmla="*/ 2785 h 3701"/>
              <a:gd name="T32" fmla="*/ 1155 w 6794"/>
              <a:gd name="T33" fmla="*/ 3375 h 3701"/>
              <a:gd name="T34" fmla="*/ 1334 w 6794"/>
              <a:gd name="T35" fmla="*/ 3611 h 3701"/>
              <a:gd name="T36" fmla="*/ 1546 w 6794"/>
              <a:gd name="T37" fmla="*/ 3700 h 3701"/>
              <a:gd name="T38" fmla="*/ 1783 w 6794"/>
              <a:gd name="T39" fmla="*/ 3666 h 3701"/>
              <a:gd name="T40" fmla="*/ 2335 w 6794"/>
              <a:gd name="T41" fmla="*/ 3437 h 3701"/>
              <a:gd name="T42" fmla="*/ 3120 w 6794"/>
              <a:gd name="T43" fmla="*/ 2972 h 3701"/>
              <a:gd name="T44" fmla="*/ 4101 w 6794"/>
              <a:gd name="T45" fmla="*/ 2282 h 3701"/>
              <a:gd name="T46" fmla="*/ 5103 w 6794"/>
              <a:gd name="T47" fmla="*/ 1500 h 3701"/>
              <a:gd name="T48" fmla="*/ 5643 w 6794"/>
              <a:gd name="T49" fmla="*/ 1053 h 3701"/>
              <a:gd name="T50" fmla="*/ 6177 w 6794"/>
              <a:gd name="T51" fmla="*/ 595 h 3701"/>
              <a:gd name="T52" fmla="*/ 6773 w 6794"/>
              <a:gd name="T53" fmla="*/ 66 h 3701"/>
              <a:gd name="T54" fmla="*/ 6790 w 6794"/>
              <a:gd name="T55" fmla="*/ 22 h 3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94" h="3701">
                <a:moveTo>
                  <a:pt x="6790" y="22"/>
                </a:moveTo>
                <a:cubicBezTo>
                  <a:pt x="6790" y="22"/>
                  <a:pt x="6790" y="22"/>
                  <a:pt x="6790" y="22"/>
                </a:cubicBezTo>
                <a:cubicBezTo>
                  <a:pt x="6790" y="22"/>
                  <a:pt x="6790" y="22"/>
                  <a:pt x="6790" y="22"/>
                </a:cubicBezTo>
                <a:cubicBezTo>
                  <a:pt x="6790" y="15"/>
                  <a:pt x="6790" y="8"/>
                  <a:pt x="6791" y="1"/>
                </a:cubicBezTo>
                <a:cubicBezTo>
                  <a:pt x="6669" y="1"/>
                  <a:pt x="6548" y="1"/>
                  <a:pt x="6426" y="1"/>
                </a:cubicBezTo>
                <a:cubicBezTo>
                  <a:pt x="4356" y="1"/>
                  <a:pt x="2286" y="1"/>
                  <a:pt x="216" y="1"/>
                </a:cubicBezTo>
                <a:cubicBezTo>
                  <a:pt x="147" y="1"/>
                  <a:pt x="79" y="1"/>
                  <a:pt x="11" y="0"/>
                </a:cubicBezTo>
                <a:cubicBezTo>
                  <a:pt x="2" y="0"/>
                  <a:pt x="0" y="2"/>
                  <a:pt x="0" y="11"/>
                </a:cubicBezTo>
                <a:cubicBezTo>
                  <a:pt x="1" y="33"/>
                  <a:pt x="0" y="56"/>
                  <a:pt x="0" y="78"/>
                </a:cubicBezTo>
                <a:cubicBezTo>
                  <a:pt x="7" y="88"/>
                  <a:pt x="6" y="100"/>
                  <a:pt x="11" y="110"/>
                </a:cubicBezTo>
                <a:cubicBezTo>
                  <a:pt x="11" y="110"/>
                  <a:pt x="11" y="110"/>
                  <a:pt x="11" y="110"/>
                </a:cubicBezTo>
                <a:cubicBezTo>
                  <a:pt x="11" y="110"/>
                  <a:pt x="11" y="110"/>
                  <a:pt x="11" y="110"/>
                </a:cubicBezTo>
                <a:cubicBezTo>
                  <a:pt x="12" y="113"/>
                  <a:pt x="12" y="115"/>
                  <a:pt x="12" y="117"/>
                </a:cubicBezTo>
                <a:cubicBezTo>
                  <a:pt x="84" y="388"/>
                  <a:pt x="158" y="657"/>
                  <a:pt x="236" y="926"/>
                </a:cubicBezTo>
                <a:cubicBezTo>
                  <a:pt x="337" y="1277"/>
                  <a:pt x="444" y="1627"/>
                  <a:pt x="561" y="1974"/>
                </a:cubicBezTo>
                <a:cubicBezTo>
                  <a:pt x="654" y="2247"/>
                  <a:pt x="752" y="2519"/>
                  <a:pt x="864" y="2785"/>
                </a:cubicBezTo>
                <a:cubicBezTo>
                  <a:pt x="949" y="2988"/>
                  <a:pt x="1040" y="3187"/>
                  <a:pt x="1155" y="3375"/>
                </a:cubicBezTo>
                <a:cubicBezTo>
                  <a:pt x="1207" y="3460"/>
                  <a:pt x="1264" y="3540"/>
                  <a:pt x="1334" y="3611"/>
                </a:cubicBezTo>
                <a:cubicBezTo>
                  <a:pt x="1393" y="3670"/>
                  <a:pt x="1463" y="3699"/>
                  <a:pt x="1546" y="3700"/>
                </a:cubicBezTo>
                <a:cubicBezTo>
                  <a:pt x="1627" y="3701"/>
                  <a:pt x="1706" y="3687"/>
                  <a:pt x="1783" y="3666"/>
                </a:cubicBezTo>
                <a:cubicBezTo>
                  <a:pt x="1976" y="3613"/>
                  <a:pt x="2157" y="3529"/>
                  <a:pt x="2335" y="3437"/>
                </a:cubicBezTo>
                <a:cubicBezTo>
                  <a:pt x="2606" y="3298"/>
                  <a:pt x="2865" y="3138"/>
                  <a:pt x="3120" y="2972"/>
                </a:cubicBezTo>
                <a:cubicBezTo>
                  <a:pt x="3455" y="2753"/>
                  <a:pt x="3780" y="2521"/>
                  <a:pt x="4101" y="2282"/>
                </a:cubicBezTo>
                <a:cubicBezTo>
                  <a:pt x="4440" y="2028"/>
                  <a:pt x="4774" y="1767"/>
                  <a:pt x="5103" y="1500"/>
                </a:cubicBezTo>
                <a:cubicBezTo>
                  <a:pt x="5284" y="1353"/>
                  <a:pt x="5465" y="1204"/>
                  <a:pt x="5643" y="1053"/>
                </a:cubicBezTo>
                <a:cubicBezTo>
                  <a:pt x="5823" y="902"/>
                  <a:pt x="6001" y="750"/>
                  <a:pt x="6177" y="595"/>
                </a:cubicBezTo>
                <a:cubicBezTo>
                  <a:pt x="6377" y="421"/>
                  <a:pt x="6575" y="243"/>
                  <a:pt x="6773" y="66"/>
                </a:cubicBezTo>
                <a:cubicBezTo>
                  <a:pt x="6787" y="53"/>
                  <a:pt x="6794" y="40"/>
                  <a:pt x="6790" y="22"/>
                </a:cubicBezTo>
                <a:close/>
              </a:path>
            </a:pathLst>
          </a:custGeom>
          <a:solidFill>
            <a:srgbClr val="2A9D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Textplatzhalter 9"/>
          <p:cNvSpPr>
            <a:spLocks noGrp="1"/>
          </p:cNvSpPr>
          <p:nvPr>
            <p:ph type="body" sz="quarter" idx="11" hasCustomPrompt="1"/>
          </p:nvPr>
        </p:nvSpPr>
        <p:spPr bwMode="gray">
          <a:xfrm>
            <a:off x="1379476" y="1136215"/>
            <a:ext cx="7452828" cy="492443"/>
          </a:xfrm>
        </p:spPr>
        <p:txBody>
          <a:bodyPr wrap="square">
            <a:spAutoFit/>
          </a:bodyPr>
          <a:lstStyle>
            <a:lvl1pPr marL="0" indent="0">
              <a:spcBef>
                <a:spcPts val="0"/>
              </a:spcBef>
              <a:buFont typeface="Arial" panose="020B0604020202020204" pitchFamily="34" charset="0"/>
              <a:buNone/>
              <a:defRPr sz="3200" i="1">
                <a:solidFill>
                  <a:schemeClr val="bg1"/>
                </a:solidFill>
              </a:defRPr>
            </a:lvl1pPr>
            <a:lvl2pPr marL="0" indent="0">
              <a:spcBef>
                <a:spcPts val="0"/>
              </a:spcBef>
              <a:buFont typeface="Arial" panose="020B0604020202020204" pitchFamily="34" charset="0"/>
              <a:buNone/>
              <a:defRPr sz="3200">
                <a:solidFill>
                  <a:schemeClr val="bg1"/>
                </a:solidFill>
              </a:defRPr>
            </a:lvl2pPr>
            <a:lvl3pPr marL="0" indent="0">
              <a:spcBef>
                <a:spcPts val="0"/>
              </a:spcBef>
              <a:buNone/>
              <a:defRPr sz="3200">
                <a:solidFill>
                  <a:schemeClr val="bg1"/>
                </a:solidFill>
              </a:defRPr>
            </a:lvl3pPr>
            <a:lvl4pPr marL="0" indent="0">
              <a:spcBef>
                <a:spcPts val="0"/>
              </a:spcBef>
              <a:buNone/>
              <a:defRPr sz="3200">
                <a:solidFill>
                  <a:schemeClr val="bg1"/>
                </a:solidFill>
              </a:defRPr>
            </a:lvl4pPr>
            <a:lvl5pPr marL="0" indent="0">
              <a:spcBef>
                <a:spcPts val="0"/>
              </a:spcBef>
              <a:buNone/>
              <a:defRPr sz="3200">
                <a:solidFill>
                  <a:schemeClr val="bg1"/>
                </a:solidFill>
              </a:defRPr>
            </a:lvl5pPr>
          </a:lstStyle>
          <a:p>
            <a:pPr lvl="0"/>
            <a:r>
              <a:rPr lang="de-DE"/>
              <a:t>Hier Zitat einfügen</a:t>
            </a:r>
          </a:p>
        </p:txBody>
      </p:sp>
      <p:sp>
        <p:nvSpPr>
          <p:cNvPr id="14" name="Textplatzhalter 13"/>
          <p:cNvSpPr>
            <a:spLocks noGrp="1"/>
          </p:cNvSpPr>
          <p:nvPr>
            <p:ph type="body" sz="quarter" idx="14" hasCustomPrompt="1"/>
          </p:nvPr>
        </p:nvSpPr>
        <p:spPr bwMode="gray">
          <a:xfrm>
            <a:off x="3071664" y="3244334"/>
            <a:ext cx="4679529" cy="184666"/>
          </a:xfrm>
        </p:spPr>
        <p:txBody>
          <a:bodyPr>
            <a:spAutoFit/>
          </a:bodyPr>
          <a:lstStyle>
            <a:lvl1pPr marL="0" indent="0" algn="r">
              <a:buFont typeface="Arial" panose="020B0604020202020204" pitchFamily="34" charset="0"/>
              <a:buNone/>
              <a:defRPr sz="1200" b="0">
                <a:solidFill>
                  <a:schemeClr val="bg1"/>
                </a:solidFill>
              </a:defRPr>
            </a:lvl1pPr>
            <a:lvl2pPr marL="0" indent="0" algn="r">
              <a:buFont typeface="Arial" panose="020B0604020202020204" pitchFamily="34" charset="0"/>
              <a:buNone/>
              <a:defRPr sz="1200" b="1">
                <a:solidFill>
                  <a:schemeClr val="bg1"/>
                </a:solidFill>
              </a:defRPr>
            </a:lvl2pPr>
            <a:lvl3pPr marL="0" indent="0" algn="r">
              <a:buNone/>
              <a:defRPr sz="1200" b="1">
                <a:solidFill>
                  <a:schemeClr val="bg1"/>
                </a:solidFill>
              </a:defRPr>
            </a:lvl3pPr>
            <a:lvl4pPr marL="0" indent="0" algn="r">
              <a:buNone/>
              <a:defRPr sz="1200" b="1">
                <a:solidFill>
                  <a:schemeClr val="bg1"/>
                </a:solidFill>
              </a:defRPr>
            </a:lvl4pPr>
            <a:lvl5pPr marL="0" indent="0" algn="r">
              <a:buNone/>
              <a:defRPr sz="1200" b="1">
                <a:solidFill>
                  <a:schemeClr val="bg1"/>
                </a:solidFill>
              </a:defRPr>
            </a:lvl5pPr>
          </a:lstStyle>
          <a:p>
            <a:pPr lvl="0"/>
            <a:r>
              <a:rPr lang="de-DE"/>
              <a:t>Autor einfügen</a:t>
            </a:r>
          </a:p>
        </p:txBody>
      </p:sp>
      <p:cxnSp>
        <p:nvCxnSpPr>
          <p:cNvPr id="25"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7284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1 Ansprechpartner">
    <p:spTree>
      <p:nvGrpSpPr>
        <p:cNvPr id="1" name=""/>
        <p:cNvGrpSpPr/>
        <p:nvPr/>
      </p:nvGrpSpPr>
      <p:grpSpPr>
        <a:xfrm>
          <a:off x="0" y="0"/>
          <a:ext cx="0" cy="0"/>
          <a:chOff x="0" y="0"/>
          <a:chExt cx="0" cy="0"/>
        </a:xfrm>
      </p:grpSpPr>
      <p:sp>
        <p:nvSpPr>
          <p:cNvPr id="7" name="Textfeld 6"/>
          <p:cNvSpPr txBox="1">
            <a:spLocks/>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vert="horz" wrap="square" lIns="468000" tIns="0" rIns="468000" bIns="0" rtlCol="0" anchor="ctr">
            <a:noAutofit/>
          </a:bodyPr>
          <a:lstStyle>
            <a:lvl1pPr algn="l" defTabSz="914400" rtl="0" eaLnBrk="1" latinLnBrk="0" hangingPunct="1">
              <a:lnSpc>
                <a:spcPct val="100000"/>
              </a:lnSpc>
              <a:spcBef>
                <a:spcPct val="0"/>
              </a:spcBef>
              <a:buNone/>
              <a:defRPr sz="4000" kern="1200" baseline="0">
                <a:solidFill>
                  <a:schemeClr val="bg1"/>
                </a:solidFill>
                <a:latin typeface="+mj-lt"/>
                <a:ea typeface="+mj-ea"/>
                <a:cs typeface="+mj-cs"/>
              </a:defRPr>
            </a:lvl1pPr>
          </a:lstStyle>
          <a:p>
            <a:pPr lvl="0" algn="l"/>
            <a:endParaRPr lang="de-DE" sz="2000" b="0" i="0" u="none" strike="noStrike" kern="1200" baseline="0">
              <a:solidFill>
                <a:schemeClr val="bg1"/>
              </a:solidFill>
              <a:latin typeface="+mj-lt"/>
              <a:ea typeface="+mj-ea"/>
              <a:cs typeface="Arial" pitchFamily="34" charset="0"/>
            </a:endParaRPr>
          </a:p>
        </p:txBody>
      </p:sp>
      <p:sp>
        <p:nvSpPr>
          <p:cNvPr id="34" name="Textplatzhalter 14"/>
          <p:cNvSpPr>
            <a:spLocks noGrp="1"/>
          </p:cNvSpPr>
          <p:nvPr>
            <p:ph type="body" sz="quarter" idx="23" hasCustomPrompt="1"/>
          </p:nvPr>
        </p:nvSpPr>
        <p:spPr bwMode="gray">
          <a:xfrm>
            <a:off x="2567669" y="1387849"/>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Hermes Europe GmbH</a:t>
            </a:r>
          </a:p>
        </p:txBody>
      </p:sp>
      <p:sp>
        <p:nvSpPr>
          <p:cNvPr id="47" name="Textplatzhalter 14"/>
          <p:cNvSpPr>
            <a:spLocks noGrp="1"/>
          </p:cNvSpPr>
          <p:nvPr>
            <p:ph type="body" sz="quarter" idx="24" hasCustomPrompt="1"/>
          </p:nvPr>
        </p:nvSpPr>
        <p:spPr bwMode="gray">
          <a:xfrm>
            <a:off x="2567669" y="1607077"/>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Essener </a:t>
            </a:r>
            <a:r>
              <a:rPr lang="de-DE" err="1"/>
              <a:t>Strasse</a:t>
            </a:r>
            <a:r>
              <a:rPr lang="de-DE"/>
              <a:t> 89</a:t>
            </a:r>
          </a:p>
        </p:txBody>
      </p:sp>
      <p:sp>
        <p:nvSpPr>
          <p:cNvPr id="48" name="Textplatzhalter 14"/>
          <p:cNvSpPr>
            <a:spLocks noGrp="1"/>
          </p:cNvSpPr>
          <p:nvPr>
            <p:ph type="body" sz="quarter" idx="25" hasCustomPrompt="1"/>
          </p:nvPr>
        </p:nvSpPr>
        <p:spPr bwMode="gray">
          <a:xfrm>
            <a:off x="2567669" y="1826305"/>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22419 Hamburg</a:t>
            </a:r>
          </a:p>
        </p:txBody>
      </p:sp>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02440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Folie" r:id="rId4" imgW="270" imgH="270" progId="TCLayout.ActiveDocument.1">
                  <p:embed/>
                </p:oleObj>
              </mc:Choice>
              <mc:Fallback>
                <p:oleObj name="think-cell Folie" r:id="rId4" imgW="270" imgH="27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Bildplatzhalter 10"/>
          <p:cNvSpPr>
            <a:spLocks noGrp="1"/>
          </p:cNvSpPr>
          <p:nvPr>
            <p:ph type="pic" sz="quarter" idx="10" hasCustomPrompt="1"/>
          </p:nvPr>
        </p:nvSpPr>
        <p:spPr bwMode="gray">
          <a:xfrm>
            <a:off x="515937" y="800100"/>
            <a:ext cx="1835487" cy="2520000"/>
          </a:xfrm>
          <a:solidFill>
            <a:srgbClr val="E7E7E8"/>
          </a:solidFill>
        </p:spPr>
        <p:txBody>
          <a:bodyPr/>
          <a:lstStyle>
            <a:lvl1pPr algn="ctr">
              <a:defRPr baseline="0"/>
            </a:lvl1pPr>
          </a:lstStyle>
          <a:p>
            <a:r>
              <a:rPr lang="de-DE"/>
              <a:t>Bitte ein farbiges Portraitfoto </a:t>
            </a:r>
            <a:br>
              <a:rPr lang="de-DE"/>
            </a:br>
            <a:r>
              <a:rPr lang="de-DE"/>
              <a:t>einfügen</a:t>
            </a:r>
          </a:p>
        </p:txBody>
      </p:sp>
      <p:sp>
        <p:nvSpPr>
          <p:cNvPr id="15" name="Textplatzhalter 14"/>
          <p:cNvSpPr>
            <a:spLocks noGrp="1"/>
          </p:cNvSpPr>
          <p:nvPr>
            <p:ph type="body" sz="quarter" idx="12" hasCustomPrompt="1"/>
          </p:nvPr>
        </p:nvSpPr>
        <p:spPr bwMode="gray">
          <a:xfrm>
            <a:off x="2555249" y="783863"/>
            <a:ext cx="4716463" cy="276999"/>
          </a:xfrm>
        </p:spPr>
        <p:txBody>
          <a:bodyPr anchor="ctr">
            <a:spAutoFit/>
          </a:bodyPr>
          <a:lstStyle>
            <a:lvl1pPr marL="0" indent="0">
              <a:spcBef>
                <a:spcPts val="0"/>
              </a:spcBef>
              <a:buFont typeface="Arial" panose="020B0604020202020204" pitchFamily="34" charset="0"/>
              <a:buNone/>
              <a:defRPr sz="18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 Name</a:t>
            </a:r>
          </a:p>
        </p:txBody>
      </p:sp>
      <p:sp>
        <p:nvSpPr>
          <p:cNvPr id="16" name="Textplatzhalter 14"/>
          <p:cNvSpPr>
            <a:spLocks noGrp="1"/>
          </p:cNvSpPr>
          <p:nvPr>
            <p:ph type="body" sz="quarter" idx="13" hasCustomPrompt="1"/>
          </p:nvPr>
        </p:nvSpPr>
        <p:spPr bwMode="gray">
          <a:xfrm>
            <a:off x="2555249" y="1086144"/>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itel, Funktion</a:t>
            </a:r>
          </a:p>
        </p:txBody>
      </p:sp>
      <p:sp>
        <p:nvSpPr>
          <p:cNvPr id="19" name="Textplatzhalter 14"/>
          <p:cNvSpPr>
            <a:spLocks noGrp="1"/>
          </p:cNvSpPr>
          <p:nvPr>
            <p:ph type="body" sz="quarter" idx="15" hasCustomPrompt="1"/>
          </p:nvPr>
        </p:nvSpPr>
        <p:spPr bwMode="gray">
          <a:xfrm>
            <a:off x="2567669" y="2865570"/>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nachname@hermesworld.com</a:t>
            </a:r>
          </a:p>
        </p:txBody>
      </p:sp>
      <p:cxnSp>
        <p:nvCxnSpPr>
          <p:cNvPr id="35"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platzhalter 14"/>
          <p:cNvSpPr>
            <a:spLocks noGrp="1"/>
          </p:cNvSpPr>
          <p:nvPr>
            <p:ph type="body" sz="quarter" idx="19" hasCustomPrompt="1"/>
          </p:nvPr>
        </p:nvSpPr>
        <p:spPr bwMode="gray">
          <a:xfrm>
            <a:off x="2567669" y="3119366"/>
            <a:ext cx="4716463" cy="215444"/>
          </a:xfrm>
        </p:spPr>
        <p:txBody>
          <a:bodyPr anchor="ctr">
            <a:spAutoFit/>
          </a:bodyPr>
          <a:lstStyle>
            <a:lvl1pPr marL="0" indent="0">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www.hermesworld.com</a:t>
            </a:r>
          </a:p>
        </p:txBody>
      </p:sp>
      <p:sp>
        <p:nvSpPr>
          <p:cNvPr id="30" name="Textplatzhalter 14"/>
          <p:cNvSpPr>
            <a:spLocks noGrp="1"/>
          </p:cNvSpPr>
          <p:nvPr>
            <p:ph type="body" sz="quarter" idx="20" hasCustomPrompt="1"/>
          </p:nvPr>
        </p:nvSpPr>
        <p:spPr bwMode="gray">
          <a:xfrm>
            <a:off x="2567669" y="2575635"/>
            <a:ext cx="4716463" cy="215444"/>
          </a:xfrm>
        </p:spPr>
        <p:txBody>
          <a:bodyPr anchor="ctr">
            <a:spAutoFit/>
          </a:bodyPr>
          <a:lstStyle>
            <a:lvl1pPr marL="0" indent="0" defTabSz="542925">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Mobil	+49 XX XXX XX </a:t>
            </a:r>
            <a:r>
              <a:rPr lang="de-DE" err="1"/>
              <a:t>XX</a:t>
            </a:r>
            <a:endParaRPr lang="de-DE"/>
          </a:p>
        </p:txBody>
      </p:sp>
      <p:sp>
        <p:nvSpPr>
          <p:cNvPr id="31" name="Textplatzhalter 14"/>
          <p:cNvSpPr>
            <a:spLocks noGrp="1"/>
          </p:cNvSpPr>
          <p:nvPr>
            <p:ph type="body" sz="quarter" idx="21" hasCustomPrompt="1"/>
          </p:nvPr>
        </p:nvSpPr>
        <p:spPr bwMode="gray">
          <a:xfrm>
            <a:off x="2567669" y="2355317"/>
            <a:ext cx="4716463" cy="215444"/>
          </a:xfrm>
        </p:spPr>
        <p:txBody>
          <a:bodyPr anchor="ctr">
            <a:spAutoFit/>
          </a:bodyPr>
          <a:lstStyle>
            <a:lvl1pPr marL="0" indent="0" defTabSz="542925">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Fax	+49 XX XXX XX </a:t>
            </a:r>
            <a:r>
              <a:rPr lang="de-DE" err="1"/>
              <a:t>XX</a:t>
            </a:r>
            <a:endParaRPr lang="de-DE"/>
          </a:p>
        </p:txBody>
      </p:sp>
      <p:sp>
        <p:nvSpPr>
          <p:cNvPr id="32" name="Textplatzhalter 14"/>
          <p:cNvSpPr>
            <a:spLocks noGrp="1"/>
          </p:cNvSpPr>
          <p:nvPr>
            <p:ph type="body" sz="quarter" idx="22" hasCustomPrompt="1"/>
          </p:nvPr>
        </p:nvSpPr>
        <p:spPr bwMode="gray">
          <a:xfrm>
            <a:off x="2567669" y="2134999"/>
            <a:ext cx="4716463" cy="215444"/>
          </a:xfrm>
        </p:spPr>
        <p:txBody>
          <a:bodyPr anchor="ctr">
            <a:spAutoFit/>
          </a:bodyPr>
          <a:lstStyle>
            <a:lvl1pPr marL="0" indent="0" defTabSz="542925">
              <a:spcBef>
                <a:spcPts val="0"/>
              </a:spcBef>
              <a:buFont typeface="Arial" panose="020B0604020202020204" pitchFamily="34" charset="0"/>
              <a:buNone/>
              <a:defRPr sz="14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el.	+49 40 537 55 XX</a:t>
            </a:r>
          </a:p>
        </p:txBody>
      </p:sp>
      <p:sp>
        <p:nvSpPr>
          <p:cNvPr id="29" name="Rechteck 1"/>
          <p:cNvSpPr/>
          <p:nvPr userDrawn="1"/>
        </p:nvSpPr>
        <p:spPr>
          <a:xfrm>
            <a:off x="8274942" y="5147834"/>
            <a:ext cx="3917058" cy="1710167"/>
          </a:xfrm>
          <a:custGeom>
            <a:avLst/>
            <a:gdLst/>
            <a:ahLst/>
            <a:cxnLst/>
            <a:rect l="l" t="t" r="r" b="b"/>
            <a:pathLst>
              <a:path w="3917058" h="1710167">
                <a:moveTo>
                  <a:pt x="3917058" y="0"/>
                </a:moveTo>
                <a:lnTo>
                  <a:pt x="3917058" y="1710167"/>
                </a:lnTo>
                <a:lnTo>
                  <a:pt x="840910" y="1710167"/>
                </a:lnTo>
                <a:lnTo>
                  <a:pt x="727105" y="1610865"/>
                </a:lnTo>
                <a:cubicBezTo>
                  <a:pt x="222631" y="1158465"/>
                  <a:pt x="-83749" y="791517"/>
                  <a:pt x="20207" y="655140"/>
                </a:cubicBezTo>
                <a:cubicBezTo>
                  <a:pt x="173335" y="462296"/>
                  <a:pt x="2343532" y="140010"/>
                  <a:pt x="391705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de-DE" sz="1600" err="1"/>
          </a:p>
        </p:txBody>
      </p:sp>
      <p:pic>
        <p:nvPicPr>
          <p:cNvPr id="33"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0532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ontaktfolie: 2 Ansprechpartner">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645429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Folie" r:id="rId4" imgW="270" imgH="270" progId="TCLayout.ActiveDocument.1">
                  <p:embed/>
                </p:oleObj>
              </mc:Choice>
              <mc:Fallback>
                <p:oleObj name="think-cell Folie" r:id="rId4" imgW="270" imgH="27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feld 6"/>
          <p:cNvSpPr txBox="1">
            <a:spLocks/>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vert="horz" wrap="square" lIns="468000" tIns="0" rIns="468000" bIns="0" rtlCol="0" anchor="ctr">
            <a:noAutofit/>
          </a:bodyPr>
          <a:lstStyle>
            <a:lvl1pPr algn="l" defTabSz="914400" rtl="0" eaLnBrk="1" latinLnBrk="0" hangingPunct="1">
              <a:lnSpc>
                <a:spcPct val="100000"/>
              </a:lnSpc>
              <a:spcBef>
                <a:spcPct val="0"/>
              </a:spcBef>
              <a:buNone/>
              <a:defRPr sz="4000" kern="1200" baseline="0">
                <a:solidFill>
                  <a:schemeClr val="bg1"/>
                </a:solidFill>
                <a:latin typeface="+mj-lt"/>
                <a:ea typeface="+mj-ea"/>
                <a:cs typeface="+mj-cs"/>
              </a:defRPr>
            </a:lvl1pPr>
          </a:lstStyle>
          <a:p>
            <a:pPr lvl="0" algn="l"/>
            <a:endParaRPr lang="de-DE" sz="2000" b="0" i="0" u="none" strike="noStrike" kern="1200" baseline="0">
              <a:solidFill>
                <a:schemeClr val="bg1"/>
              </a:solidFill>
              <a:latin typeface="+mj-lt"/>
              <a:ea typeface="+mj-ea"/>
              <a:cs typeface="Arial" pitchFamily="34" charset="0"/>
            </a:endParaRPr>
          </a:p>
        </p:txBody>
      </p:sp>
      <p:sp>
        <p:nvSpPr>
          <p:cNvPr id="11" name="Bildplatzhalter 10"/>
          <p:cNvSpPr>
            <a:spLocks noGrp="1"/>
          </p:cNvSpPr>
          <p:nvPr>
            <p:ph type="pic" sz="quarter" idx="10" hasCustomPrompt="1"/>
          </p:nvPr>
        </p:nvSpPr>
        <p:spPr bwMode="gray">
          <a:xfrm>
            <a:off x="515937" y="800099"/>
            <a:ext cx="1295587" cy="1767473"/>
          </a:xfrm>
          <a:solidFill>
            <a:srgbClr val="E7E7E8"/>
          </a:solidFill>
        </p:spPr>
        <p:txBody>
          <a:bodyPr/>
          <a:lstStyle>
            <a:lvl1pPr algn="ctr">
              <a:defRPr/>
            </a:lvl1pPr>
          </a:lstStyle>
          <a:p>
            <a:r>
              <a:rPr lang="de-DE"/>
              <a:t>Bitte ein farbiges Portraitfoto</a:t>
            </a:r>
            <a:br>
              <a:rPr lang="de-DE"/>
            </a:br>
            <a:r>
              <a:rPr lang="de-DE"/>
              <a:t>einfügen</a:t>
            </a:r>
          </a:p>
        </p:txBody>
      </p:sp>
      <p:sp>
        <p:nvSpPr>
          <p:cNvPr id="23" name="Bildplatzhalter 10"/>
          <p:cNvSpPr>
            <a:spLocks noGrp="1"/>
          </p:cNvSpPr>
          <p:nvPr>
            <p:ph type="pic" sz="quarter" idx="19" hasCustomPrompt="1"/>
          </p:nvPr>
        </p:nvSpPr>
        <p:spPr bwMode="gray">
          <a:xfrm>
            <a:off x="515937" y="3465183"/>
            <a:ext cx="1295587" cy="1767473"/>
          </a:xfrm>
          <a:solidFill>
            <a:srgbClr val="E7E7E8"/>
          </a:solidFill>
        </p:spPr>
        <p:txBody>
          <a:bodyPr/>
          <a:lstStyle>
            <a:lvl1pPr algn="ctr">
              <a:defRPr/>
            </a:lvl1pPr>
          </a:lstStyle>
          <a:p>
            <a:r>
              <a:rPr lang="de-DE"/>
              <a:t>Bitte ein farbiges Portraitfoto</a:t>
            </a:r>
            <a:br>
              <a:rPr lang="de-DE"/>
            </a:br>
            <a:r>
              <a:rPr lang="de-DE"/>
              <a:t>einfügen</a:t>
            </a:r>
          </a:p>
        </p:txBody>
      </p:sp>
      <p:cxnSp>
        <p:nvCxnSpPr>
          <p:cNvPr id="45"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platzhalter 14"/>
          <p:cNvSpPr>
            <a:spLocks noGrp="1"/>
          </p:cNvSpPr>
          <p:nvPr>
            <p:ph type="body" sz="quarter" idx="27" hasCustomPrompt="1"/>
          </p:nvPr>
        </p:nvSpPr>
        <p:spPr bwMode="gray">
          <a:xfrm>
            <a:off x="2015189" y="1340768"/>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Hermes Europe GmbH</a:t>
            </a:r>
          </a:p>
        </p:txBody>
      </p:sp>
      <p:sp>
        <p:nvSpPr>
          <p:cNvPr id="38" name="Textplatzhalter 14"/>
          <p:cNvSpPr>
            <a:spLocks noGrp="1"/>
          </p:cNvSpPr>
          <p:nvPr>
            <p:ph type="body" sz="quarter" idx="28" hasCustomPrompt="1"/>
          </p:nvPr>
        </p:nvSpPr>
        <p:spPr bwMode="gray">
          <a:xfrm>
            <a:off x="2015189" y="1534595"/>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Essener </a:t>
            </a:r>
            <a:r>
              <a:rPr lang="de-DE" err="1"/>
              <a:t>Strasse</a:t>
            </a:r>
            <a:r>
              <a:rPr lang="de-DE"/>
              <a:t> 89</a:t>
            </a:r>
          </a:p>
        </p:txBody>
      </p:sp>
      <p:sp>
        <p:nvSpPr>
          <p:cNvPr id="39" name="Textplatzhalter 14"/>
          <p:cNvSpPr>
            <a:spLocks noGrp="1"/>
          </p:cNvSpPr>
          <p:nvPr>
            <p:ph type="body" sz="quarter" idx="29" hasCustomPrompt="1"/>
          </p:nvPr>
        </p:nvSpPr>
        <p:spPr bwMode="gray">
          <a:xfrm>
            <a:off x="2015189" y="1728422"/>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22419 Hamburg</a:t>
            </a:r>
          </a:p>
        </p:txBody>
      </p:sp>
      <p:sp>
        <p:nvSpPr>
          <p:cNvPr id="40" name="Textplatzhalter 14"/>
          <p:cNvSpPr>
            <a:spLocks noGrp="1"/>
          </p:cNvSpPr>
          <p:nvPr>
            <p:ph type="body" sz="quarter" idx="12" hasCustomPrompt="1"/>
          </p:nvPr>
        </p:nvSpPr>
        <p:spPr bwMode="gray">
          <a:xfrm>
            <a:off x="2015189" y="795464"/>
            <a:ext cx="4716463" cy="253796"/>
          </a:xfrm>
        </p:spPr>
        <p:txBody>
          <a:bodyPr anchor="ctr">
            <a:spAutoFit/>
          </a:bodyPr>
          <a:lstStyle>
            <a:lvl1pPr marL="0" indent="0">
              <a:spcBef>
                <a:spcPts val="0"/>
              </a:spcBef>
              <a:buFont typeface="Arial" panose="020B0604020202020204" pitchFamily="34" charset="0"/>
              <a:buNone/>
              <a:defRPr sz="16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 Name</a:t>
            </a:r>
          </a:p>
        </p:txBody>
      </p:sp>
      <p:sp>
        <p:nvSpPr>
          <p:cNvPr id="41" name="Textplatzhalter 14"/>
          <p:cNvSpPr>
            <a:spLocks noGrp="1"/>
          </p:cNvSpPr>
          <p:nvPr>
            <p:ph type="body" sz="quarter" idx="13" hasCustomPrompt="1"/>
          </p:nvPr>
        </p:nvSpPr>
        <p:spPr bwMode="gray">
          <a:xfrm>
            <a:off x="2015189" y="1082483"/>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itel, Funktion</a:t>
            </a:r>
          </a:p>
        </p:txBody>
      </p:sp>
      <p:sp>
        <p:nvSpPr>
          <p:cNvPr id="42" name="Textplatzhalter 14"/>
          <p:cNvSpPr>
            <a:spLocks noGrp="1"/>
          </p:cNvSpPr>
          <p:nvPr>
            <p:ph type="body" sz="quarter" idx="15" hasCustomPrompt="1"/>
          </p:nvPr>
        </p:nvSpPr>
        <p:spPr bwMode="gray">
          <a:xfrm>
            <a:off x="2015189" y="2705743"/>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nachname@hermesworld.com</a:t>
            </a:r>
          </a:p>
        </p:txBody>
      </p:sp>
      <p:sp>
        <p:nvSpPr>
          <p:cNvPr id="43" name="Textplatzhalter 14"/>
          <p:cNvSpPr>
            <a:spLocks noGrp="1"/>
          </p:cNvSpPr>
          <p:nvPr>
            <p:ph type="body" sz="quarter" idx="30" hasCustomPrompt="1"/>
          </p:nvPr>
        </p:nvSpPr>
        <p:spPr bwMode="gray">
          <a:xfrm>
            <a:off x="2015189" y="2911914"/>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www.hermesworld.com</a:t>
            </a:r>
          </a:p>
        </p:txBody>
      </p:sp>
      <p:sp>
        <p:nvSpPr>
          <p:cNvPr id="44" name="Textplatzhalter 14"/>
          <p:cNvSpPr>
            <a:spLocks noGrp="1"/>
          </p:cNvSpPr>
          <p:nvPr>
            <p:ph type="body" sz="quarter" idx="31" hasCustomPrompt="1"/>
          </p:nvPr>
        </p:nvSpPr>
        <p:spPr bwMode="gray">
          <a:xfrm>
            <a:off x="2015189" y="2443253"/>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Mobil	+49 XX XXX XX </a:t>
            </a:r>
            <a:r>
              <a:rPr lang="de-DE" err="1"/>
              <a:t>XX</a:t>
            </a:r>
            <a:endParaRPr lang="de-DE"/>
          </a:p>
        </p:txBody>
      </p:sp>
      <p:sp>
        <p:nvSpPr>
          <p:cNvPr id="57" name="Textplatzhalter 14"/>
          <p:cNvSpPr>
            <a:spLocks noGrp="1"/>
          </p:cNvSpPr>
          <p:nvPr>
            <p:ph type="body" sz="quarter" idx="32" hasCustomPrompt="1"/>
          </p:nvPr>
        </p:nvSpPr>
        <p:spPr bwMode="gray">
          <a:xfrm>
            <a:off x="2015189" y="2222935"/>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Fax	+49 XX XXX XX </a:t>
            </a:r>
            <a:r>
              <a:rPr lang="de-DE" err="1"/>
              <a:t>XX</a:t>
            </a:r>
            <a:endParaRPr lang="de-DE"/>
          </a:p>
        </p:txBody>
      </p:sp>
      <p:sp>
        <p:nvSpPr>
          <p:cNvPr id="58" name="Textplatzhalter 14"/>
          <p:cNvSpPr>
            <a:spLocks noGrp="1"/>
          </p:cNvSpPr>
          <p:nvPr>
            <p:ph type="body" sz="quarter" idx="33" hasCustomPrompt="1"/>
          </p:nvPr>
        </p:nvSpPr>
        <p:spPr bwMode="gray">
          <a:xfrm>
            <a:off x="2015189" y="2002617"/>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el.	+49 40 537 55 XX</a:t>
            </a:r>
          </a:p>
        </p:txBody>
      </p:sp>
      <p:sp>
        <p:nvSpPr>
          <p:cNvPr id="69" name="Textplatzhalter 14"/>
          <p:cNvSpPr>
            <a:spLocks noGrp="1"/>
          </p:cNvSpPr>
          <p:nvPr>
            <p:ph type="body" sz="quarter" idx="34" hasCustomPrompt="1"/>
          </p:nvPr>
        </p:nvSpPr>
        <p:spPr bwMode="gray">
          <a:xfrm>
            <a:off x="2015189" y="4010308"/>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Hermes Europe GmbH</a:t>
            </a:r>
          </a:p>
        </p:txBody>
      </p:sp>
      <p:sp>
        <p:nvSpPr>
          <p:cNvPr id="70" name="Textplatzhalter 14"/>
          <p:cNvSpPr>
            <a:spLocks noGrp="1"/>
          </p:cNvSpPr>
          <p:nvPr>
            <p:ph type="body" sz="quarter" idx="35" hasCustomPrompt="1"/>
          </p:nvPr>
        </p:nvSpPr>
        <p:spPr bwMode="gray">
          <a:xfrm>
            <a:off x="2015189" y="4204135"/>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Essener </a:t>
            </a:r>
            <a:r>
              <a:rPr lang="de-DE" err="1"/>
              <a:t>Strasse</a:t>
            </a:r>
            <a:r>
              <a:rPr lang="de-DE"/>
              <a:t> 89</a:t>
            </a:r>
          </a:p>
        </p:txBody>
      </p:sp>
      <p:sp>
        <p:nvSpPr>
          <p:cNvPr id="71" name="Textplatzhalter 14"/>
          <p:cNvSpPr>
            <a:spLocks noGrp="1"/>
          </p:cNvSpPr>
          <p:nvPr>
            <p:ph type="body" sz="quarter" idx="36" hasCustomPrompt="1"/>
          </p:nvPr>
        </p:nvSpPr>
        <p:spPr bwMode="gray">
          <a:xfrm>
            <a:off x="2015189" y="4397962"/>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22419 Hamburg</a:t>
            </a:r>
          </a:p>
        </p:txBody>
      </p:sp>
      <p:sp>
        <p:nvSpPr>
          <p:cNvPr id="72" name="Textplatzhalter 14"/>
          <p:cNvSpPr>
            <a:spLocks noGrp="1"/>
          </p:cNvSpPr>
          <p:nvPr>
            <p:ph type="body" sz="quarter" idx="37" hasCustomPrompt="1"/>
          </p:nvPr>
        </p:nvSpPr>
        <p:spPr bwMode="gray">
          <a:xfrm>
            <a:off x="2015189" y="3465004"/>
            <a:ext cx="4716463" cy="253796"/>
          </a:xfrm>
        </p:spPr>
        <p:txBody>
          <a:bodyPr anchor="ctr">
            <a:spAutoFit/>
          </a:bodyPr>
          <a:lstStyle>
            <a:lvl1pPr marL="0" indent="0">
              <a:spcBef>
                <a:spcPts val="0"/>
              </a:spcBef>
              <a:buFont typeface="Arial" panose="020B0604020202020204" pitchFamily="34" charset="0"/>
              <a:buNone/>
              <a:defRPr sz="16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 Name</a:t>
            </a:r>
          </a:p>
        </p:txBody>
      </p:sp>
      <p:sp>
        <p:nvSpPr>
          <p:cNvPr id="73" name="Textplatzhalter 14"/>
          <p:cNvSpPr>
            <a:spLocks noGrp="1"/>
          </p:cNvSpPr>
          <p:nvPr>
            <p:ph type="body" sz="quarter" idx="38" hasCustomPrompt="1"/>
          </p:nvPr>
        </p:nvSpPr>
        <p:spPr bwMode="gray">
          <a:xfrm>
            <a:off x="2015189" y="3752023"/>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itel, Funktion</a:t>
            </a:r>
          </a:p>
        </p:txBody>
      </p:sp>
      <p:sp>
        <p:nvSpPr>
          <p:cNvPr id="74" name="Textplatzhalter 14"/>
          <p:cNvSpPr>
            <a:spLocks noGrp="1"/>
          </p:cNvSpPr>
          <p:nvPr>
            <p:ph type="body" sz="quarter" idx="39" hasCustomPrompt="1"/>
          </p:nvPr>
        </p:nvSpPr>
        <p:spPr bwMode="gray">
          <a:xfrm>
            <a:off x="2015189" y="5375283"/>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vorname.nachname@hermesworld.com</a:t>
            </a:r>
          </a:p>
        </p:txBody>
      </p:sp>
      <p:sp>
        <p:nvSpPr>
          <p:cNvPr id="75" name="Textplatzhalter 14"/>
          <p:cNvSpPr>
            <a:spLocks noGrp="1"/>
          </p:cNvSpPr>
          <p:nvPr>
            <p:ph type="body" sz="quarter" idx="40" hasCustomPrompt="1"/>
          </p:nvPr>
        </p:nvSpPr>
        <p:spPr bwMode="gray">
          <a:xfrm>
            <a:off x="2015189" y="5581454"/>
            <a:ext cx="4716463" cy="184666"/>
          </a:xfrm>
        </p:spPr>
        <p:txBody>
          <a:bodyPr anchor="ctr">
            <a:spAutoFit/>
          </a:bodyPr>
          <a:lstStyle>
            <a:lvl1pPr marL="0" indent="0">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www.hermesworld.com</a:t>
            </a:r>
          </a:p>
        </p:txBody>
      </p:sp>
      <p:sp>
        <p:nvSpPr>
          <p:cNvPr id="76" name="Textplatzhalter 14"/>
          <p:cNvSpPr>
            <a:spLocks noGrp="1"/>
          </p:cNvSpPr>
          <p:nvPr>
            <p:ph type="body" sz="quarter" idx="41" hasCustomPrompt="1"/>
          </p:nvPr>
        </p:nvSpPr>
        <p:spPr bwMode="gray">
          <a:xfrm>
            <a:off x="2015189" y="5112793"/>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Mobil	+49 XX XXX XX </a:t>
            </a:r>
            <a:r>
              <a:rPr lang="de-DE" err="1"/>
              <a:t>XX</a:t>
            </a:r>
            <a:endParaRPr lang="de-DE"/>
          </a:p>
        </p:txBody>
      </p:sp>
      <p:sp>
        <p:nvSpPr>
          <p:cNvPr id="77" name="Textplatzhalter 14"/>
          <p:cNvSpPr>
            <a:spLocks noGrp="1"/>
          </p:cNvSpPr>
          <p:nvPr>
            <p:ph type="body" sz="quarter" idx="42" hasCustomPrompt="1"/>
          </p:nvPr>
        </p:nvSpPr>
        <p:spPr bwMode="gray">
          <a:xfrm>
            <a:off x="2015189" y="4892475"/>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Fax	+49 XX XXX XX </a:t>
            </a:r>
            <a:r>
              <a:rPr lang="de-DE" err="1"/>
              <a:t>XX</a:t>
            </a:r>
            <a:endParaRPr lang="de-DE"/>
          </a:p>
        </p:txBody>
      </p:sp>
      <p:sp>
        <p:nvSpPr>
          <p:cNvPr id="78" name="Textplatzhalter 14"/>
          <p:cNvSpPr>
            <a:spLocks noGrp="1"/>
          </p:cNvSpPr>
          <p:nvPr>
            <p:ph type="body" sz="quarter" idx="43" hasCustomPrompt="1"/>
          </p:nvPr>
        </p:nvSpPr>
        <p:spPr bwMode="gray">
          <a:xfrm>
            <a:off x="2015189" y="4672157"/>
            <a:ext cx="4716463" cy="184666"/>
          </a:xfrm>
        </p:spPr>
        <p:txBody>
          <a:bodyPr anchor="ctr">
            <a:spAutoFit/>
          </a:bodyPr>
          <a:lstStyle>
            <a:lvl1pPr marL="0" indent="0" defTabSz="542925">
              <a:spcBef>
                <a:spcPts val="0"/>
              </a:spcBef>
              <a:buFont typeface="Arial" panose="020B0604020202020204" pitchFamily="34" charset="0"/>
              <a:buNone/>
              <a:defRPr sz="1200" baseline="0">
                <a:solidFill>
                  <a:schemeClr val="bg1"/>
                </a:solidFill>
              </a:defRPr>
            </a:lvl1pPr>
            <a:lvl2pPr marL="0" indent="0">
              <a:spcBef>
                <a:spcPts val="0"/>
              </a:spcBef>
              <a:buFont typeface="Arial" panose="020B0604020202020204" pitchFamily="34" charset="0"/>
              <a:buNone/>
              <a:defRPr sz="1400">
                <a:solidFill>
                  <a:schemeClr val="bg1"/>
                </a:solidFill>
              </a:defRPr>
            </a:lvl2pPr>
            <a:lvl3pPr marL="0" indent="0">
              <a:spcBef>
                <a:spcPts val="0"/>
              </a:spcBef>
              <a:buNone/>
              <a:defRPr sz="1400">
                <a:solidFill>
                  <a:schemeClr val="bg1"/>
                </a:solidFill>
              </a:defRPr>
            </a:lvl3pPr>
            <a:lvl4pPr marL="0" indent="0">
              <a:spcBef>
                <a:spcPts val="0"/>
              </a:spcBef>
              <a:buNone/>
              <a:defRPr sz="1400">
                <a:solidFill>
                  <a:schemeClr val="bg1"/>
                </a:solidFill>
              </a:defRPr>
            </a:lvl4pPr>
            <a:lvl5pPr marL="0" indent="0">
              <a:spcBef>
                <a:spcPts val="0"/>
              </a:spcBef>
              <a:buNone/>
              <a:defRPr sz="1400">
                <a:solidFill>
                  <a:schemeClr val="bg1"/>
                </a:solidFill>
              </a:defRPr>
            </a:lvl5pPr>
          </a:lstStyle>
          <a:p>
            <a:pPr lvl="0"/>
            <a:r>
              <a:rPr lang="de-DE"/>
              <a:t>Tel.	+49 40 537 55 XX</a:t>
            </a:r>
          </a:p>
        </p:txBody>
      </p:sp>
      <p:sp>
        <p:nvSpPr>
          <p:cNvPr id="59" name="Rechteck 1"/>
          <p:cNvSpPr/>
          <p:nvPr userDrawn="1"/>
        </p:nvSpPr>
        <p:spPr>
          <a:xfrm>
            <a:off x="8274942" y="5147834"/>
            <a:ext cx="3917058" cy="1710167"/>
          </a:xfrm>
          <a:custGeom>
            <a:avLst/>
            <a:gdLst/>
            <a:ahLst/>
            <a:cxnLst/>
            <a:rect l="l" t="t" r="r" b="b"/>
            <a:pathLst>
              <a:path w="3917058" h="1710167">
                <a:moveTo>
                  <a:pt x="3917058" y="0"/>
                </a:moveTo>
                <a:lnTo>
                  <a:pt x="3917058" y="1710167"/>
                </a:lnTo>
                <a:lnTo>
                  <a:pt x="840910" y="1710167"/>
                </a:lnTo>
                <a:lnTo>
                  <a:pt x="727105" y="1610865"/>
                </a:lnTo>
                <a:cubicBezTo>
                  <a:pt x="222631" y="1158465"/>
                  <a:pt x="-83749" y="791517"/>
                  <a:pt x="20207" y="655140"/>
                </a:cubicBezTo>
                <a:cubicBezTo>
                  <a:pt x="173335" y="462296"/>
                  <a:pt x="2343532" y="140010"/>
                  <a:pt x="391705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de-DE" sz="1600" err="1"/>
          </a:p>
        </p:txBody>
      </p:sp>
      <p:pic>
        <p:nvPicPr>
          <p:cNvPr id="60"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925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Bild + großer Layer 02">
    <p:bg>
      <p:bgPr>
        <a:solidFill>
          <a:srgbClr val="E7E7E8"/>
        </a:solidFill>
        <a:effectLst/>
      </p:bgPr>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56568833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4" imgW="270" imgH="270" progId="TCLayout.ActiveDocument.1">
                  <p:embed/>
                </p:oleObj>
              </mc:Choice>
              <mc:Fallback>
                <p:oleObj name="think-cell Folie" r:id="rId4" imgW="270" imgH="270" progId="TCLayout.ActiveDocument.1">
                  <p:embed/>
                  <p:pic>
                    <p:nvPicPr>
                      <p:cNvPr id="12" name="Objek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Bildplatzhalter 14"/>
          <p:cNvSpPr>
            <a:spLocks noGrp="1"/>
          </p:cNvSpPr>
          <p:nvPr>
            <p:ph type="pic" sz="quarter" idx="13"/>
          </p:nvPr>
        </p:nvSpPr>
        <p:spPr bwMode="gray">
          <a:xfrm>
            <a:off x="4727848" y="0"/>
            <a:ext cx="7469957" cy="6858000"/>
          </a:xfrm>
          <a:prstGeom prst="rect">
            <a:avLst/>
          </a:prstGeom>
          <a:noFill/>
        </p:spPr>
        <p:txBody>
          <a:bodyPr wrap="square">
            <a:noAutofit/>
          </a:bodyPr>
          <a:lstStyle/>
          <a:p>
            <a:r>
              <a:rPr lang="de-DE"/>
              <a:t>Bild durch Klicken auf Symbol hinzufügen</a:t>
            </a:r>
          </a:p>
        </p:txBody>
      </p:sp>
      <p:cxnSp>
        <p:nvCxnSpPr>
          <p:cNvPr id="25"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3"/>
          <p:cNvCxnSpPr/>
          <p:nvPr userDrawn="1"/>
        </p:nvCxnSpPr>
        <p:spPr bwMode="gray">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19"/>
          <p:cNvCxnSpPr/>
          <p:nvPr userDrawn="1"/>
        </p:nvCxnSpPr>
        <p:spPr bwMode="gray">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itel 13"/>
          <p:cNvSpPr>
            <a:spLocks noGrp="1"/>
          </p:cNvSpPr>
          <p:nvPr>
            <p:ph type="ctrTitle" hasCustomPrompt="1"/>
          </p:nvPr>
        </p:nvSpPr>
        <p:spPr bwMode="gray">
          <a:xfrm>
            <a:off x="1" y="2381"/>
            <a:ext cx="7330060" cy="6863579"/>
          </a:xfrm>
          <a:custGeom>
            <a:avLst/>
            <a:gdLst>
              <a:gd name="connsiteX0" fmla="*/ 0 w 7328853"/>
              <a:gd name="connsiteY0" fmla="*/ 0 h 6858000"/>
              <a:gd name="connsiteX1" fmla="*/ 38666 w 7328853"/>
              <a:gd name="connsiteY1" fmla="*/ 0 h 6858000"/>
              <a:gd name="connsiteX2" fmla="*/ 155340 w 7328853"/>
              <a:gd name="connsiteY2" fmla="*/ 0 h 6858000"/>
              <a:gd name="connsiteX3" fmla="*/ 155340 w 7328853"/>
              <a:gd name="connsiteY3" fmla="*/ 32 h 6858000"/>
              <a:gd name="connsiteX4" fmla="*/ 4582309 w 7328853"/>
              <a:gd name="connsiteY4" fmla="*/ 1240 h 6858000"/>
              <a:gd name="connsiteX5" fmla="*/ 4690137 w 7328853"/>
              <a:gd name="connsiteY5" fmla="*/ 1240 h 6858000"/>
              <a:gd name="connsiteX6" fmla="*/ 4759543 w 7328853"/>
              <a:gd name="connsiteY6" fmla="*/ 1240 h 6858000"/>
              <a:gd name="connsiteX7" fmla="*/ 4823992 w 7328853"/>
              <a:gd name="connsiteY7" fmla="*/ 1240 h 6858000"/>
              <a:gd name="connsiteX8" fmla="*/ 4956608 w 7328853"/>
              <a:gd name="connsiteY8" fmla="*/ 1240 h 6858000"/>
              <a:gd name="connsiteX9" fmla="*/ 5070633 w 7328853"/>
              <a:gd name="connsiteY9" fmla="*/ 1240 h 6858000"/>
              <a:gd name="connsiteX10" fmla="*/ 5184658 w 7328853"/>
              <a:gd name="connsiteY10" fmla="*/ 1240 h 6858000"/>
              <a:gd name="connsiteX11" fmla="*/ 5261501 w 7328853"/>
              <a:gd name="connsiteY11" fmla="*/ 1240 h 6858000"/>
              <a:gd name="connsiteX12" fmla="*/ 5361892 w 7328853"/>
              <a:gd name="connsiteY12" fmla="*/ 1240 h 6858000"/>
              <a:gd name="connsiteX13" fmla="*/ 5406511 w 7328853"/>
              <a:gd name="connsiteY13" fmla="*/ 1240 h 6858000"/>
              <a:gd name="connsiteX14" fmla="*/ 5508141 w 7328853"/>
              <a:gd name="connsiteY14" fmla="*/ 1240 h 6858000"/>
              <a:gd name="connsiteX15" fmla="*/ 5756021 w 7328853"/>
              <a:gd name="connsiteY15" fmla="*/ 1240 h 6858000"/>
              <a:gd name="connsiteX16" fmla="*/ 5894834 w 7328853"/>
              <a:gd name="connsiteY16" fmla="*/ 1240 h 6858000"/>
              <a:gd name="connsiteX17" fmla="*/ 6085702 w 7328853"/>
              <a:gd name="connsiteY17" fmla="*/ 39670 h 6858000"/>
              <a:gd name="connsiteX18" fmla="*/ 6181136 w 7328853"/>
              <a:gd name="connsiteY18" fmla="*/ 59505 h 6858000"/>
              <a:gd name="connsiteX19" fmla="*/ 6484789 w 7328853"/>
              <a:gd name="connsiteY19" fmla="*/ 128928 h 6858000"/>
              <a:gd name="connsiteX20" fmla="*/ 6606250 w 7328853"/>
              <a:gd name="connsiteY20" fmla="*/ 163640 h 6858000"/>
              <a:gd name="connsiteX21" fmla="*/ 6877679 w 7328853"/>
              <a:gd name="connsiteY21" fmla="*/ 256617 h 6858000"/>
              <a:gd name="connsiteX22" fmla="*/ 7167699 w 7328853"/>
              <a:gd name="connsiteY22" fmla="*/ 409100 h 6858000"/>
              <a:gd name="connsiteX23" fmla="*/ 7328821 w 7328853"/>
              <a:gd name="connsiteY23" fmla="*/ 732661 h 6858000"/>
              <a:gd name="connsiteX24" fmla="*/ 7249499 w 7328853"/>
              <a:gd name="connsiteY24" fmla="*/ 1315318 h 6858000"/>
              <a:gd name="connsiteX25" fmla="*/ 6824385 w 7328853"/>
              <a:gd name="connsiteY25" fmla="*/ 2616999 h 6858000"/>
              <a:gd name="connsiteX26" fmla="*/ 5899792 w 7328853"/>
              <a:gd name="connsiteY26" fmla="*/ 4748037 h 6858000"/>
              <a:gd name="connsiteX27" fmla="*/ 4868611 w 7328853"/>
              <a:gd name="connsiteY27" fmla="*/ 6824528 h 6858000"/>
              <a:gd name="connsiteX28" fmla="*/ 4822753 w 7328853"/>
              <a:gd name="connsiteY28" fmla="*/ 6851802 h 6858000"/>
              <a:gd name="connsiteX29" fmla="*/ 4525297 w 7328853"/>
              <a:gd name="connsiteY29" fmla="*/ 6850562 h 6858000"/>
              <a:gd name="connsiteX30" fmla="*/ 4372850 w 7328853"/>
              <a:gd name="connsiteY30" fmla="*/ 6850562 h 6858000"/>
              <a:gd name="connsiteX31" fmla="*/ 4322035 w 7328853"/>
              <a:gd name="connsiteY31" fmla="*/ 6850562 h 6858000"/>
              <a:gd name="connsiteX32" fmla="*/ 4227841 w 7328853"/>
              <a:gd name="connsiteY32" fmla="*/ 6850562 h 6858000"/>
              <a:gd name="connsiteX33" fmla="*/ 4144801 w 7328853"/>
              <a:gd name="connsiteY33" fmla="*/ 6850562 h 6858000"/>
              <a:gd name="connsiteX34" fmla="*/ 4075394 w 7328853"/>
              <a:gd name="connsiteY34" fmla="*/ 6850562 h 6858000"/>
              <a:gd name="connsiteX35" fmla="*/ 4036973 w 7328853"/>
              <a:gd name="connsiteY35" fmla="*/ 6850562 h 6858000"/>
              <a:gd name="connsiteX36" fmla="*/ 3967566 w 7328853"/>
              <a:gd name="connsiteY36" fmla="*/ 6850562 h 6858000"/>
              <a:gd name="connsiteX37" fmla="*/ 3859738 w 7328853"/>
              <a:gd name="connsiteY37" fmla="*/ 6850562 h 6858000"/>
              <a:gd name="connsiteX38" fmla="*/ 3782896 w 7328853"/>
              <a:gd name="connsiteY38" fmla="*/ 6850562 h 6858000"/>
              <a:gd name="connsiteX39" fmla="*/ 3682504 w 7328853"/>
              <a:gd name="connsiteY39" fmla="*/ 6850562 h 6858000"/>
              <a:gd name="connsiteX40" fmla="*/ 3564761 w 7328853"/>
              <a:gd name="connsiteY40" fmla="*/ 6850562 h 6858000"/>
              <a:gd name="connsiteX41" fmla="*/ 3559803 w 7328853"/>
              <a:gd name="connsiteY41" fmla="*/ 6854281 h 6858000"/>
              <a:gd name="connsiteX42" fmla="*/ 3523861 w 7328853"/>
              <a:gd name="connsiteY42" fmla="*/ 6854281 h 6858000"/>
              <a:gd name="connsiteX43" fmla="*/ 155340 w 7328853"/>
              <a:gd name="connsiteY43" fmla="*/ 6854281 h 6858000"/>
              <a:gd name="connsiteX44" fmla="*/ 155340 w 7328853"/>
              <a:gd name="connsiteY44" fmla="*/ 6858000 h 6858000"/>
              <a:gd name="connsiteX45" fmla="*/ 0 w 7328853"/>
              <a:gd name="connsiteY45" fmla="*/ 685800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22753 w 7330060"/>
              <a:gd name="connsiteY28" fmla="*/ 6851802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155340 w 7330060"/>
              <a:gd name="connsiteY43" fmla="*/ 6858000 h 6860284"/>
              <a:gd name="connsiteX44" fmla="*/ 0 w 7330060"/>
              <a:gd name="connsiteY44" fmla="*/ 6858000 h 6860284"/>
              <a:gd name="connsiteX45" fmla="*/ 0 w 7330060"/>
              <a:gd name="connsiteY4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64761 w 7330060"/>
              <a:gd name="connsiteY39" fmla="*/ 6850562 h 6860284"/>
              <a:gd name="connsiteX40" fmla="*/ 3523861 w 7330060"/>
              <a:gd name="connsiteY40" fmla="*/ 6854281 h 6860284"/>
              <a:gd name="connsiteX41" fmla="*/ 191343 w 7330060"/>
              <a:gd name="connsiteY41" fmla="*/ 6858000 h 6860284"/>
              <a:gd name="connsiteX42" fmla="*/ 0 w 7330060"/>
              <a:gd name="connsiteY42" fmla="*/ 6858000 h 6860284"/>
              <a:gd name="connsiteX43" fmla="*/ 0 w 7330060"/>
              <a:gd name="connsiteY43"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23861 w 7330060"/>
              <a:gd name="connsiteY39" fmla="*/ 6854281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03711 w 7330060"/>
              <a:gd name="connsiteY39" fmla="*/ 6858000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503711 w 7330060"/>
              <a:gd name="connsiteY38" fmla="*/ 6858000 h 6860284"/>
              <a:gd name="connsiteX39" fmla="*/ 191343 w 7330060"/>
              <a:gd name="connsiteY39" fmla="*/ 6858000 h 6860284"/>
              <a:gd name="connsiteX40" fmla="*/ 0 w 7330060"/>
              <a:gd name="connsiteY40" fmla="*/ 6858000 h 6860284"/>
              <a:gd name="connsiteX41" fmla="*/ 0 w 7330060"/>
              <a:gd name="connsiteY41"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503711 w 7330060"/>
              <a:gd name="connsiteY37" fmla="*/ 6858000 h 6860284"/>
              <a:gd name="connsiteX38" fmla="*/ 191343 w 7330060"/>
              <a:gd name="connsiteY38" fmla="*/ 6858000 h 6860284"/>
              <a:gd name="connsiteX39" fmla="*/ 0 w 7330060"/>
              <a:gd name="connsiteY39" fmla="*/ 6858000 h 6860284"/>
              <a:gd name="connsiteX40" fmla="*/ 0 w 7330060"/>
              <a:gd name="connsiteY40"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503711 w 7330060"/>
              <a:gd name="connsiteY36" fmla="*/ 6858000 h 6860284"/>
              <a:gd name="connsiteX37" fmla="*/ 191343 w 7330060"/>
              <a:gd name="connsiteY37" fmla="*/ 6858000 h 6860284"/>
              <a:gd name="connsiteX38" fmla="*/ 0 w 7330060"/>
              <a:gd name="connsiteY38" fmla="*/ 6858000 h 6860284"/>
              <a:gd name="connsiteX39" fmla="*/ 0 w 7330060"/>
              <a:gd name="connsiteY39"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3503711 w 7330060"/>
              <a:gd name="connsiteY35" fmla="*/ 6858000 h 6860284"/>
              <a:gd name="connsiteX36" fmla="*/ 191343 w 7330060"/>
              <a:gd name="connsiteY36" fmla="*/ 6858000 h 6860284"/>
              <a:gd name="connsiteX37" fmla="*/ 0 w 7330060"/>
              <a:gd name="connsiteY37" fmla="*/ 6858000 h 6860284"/>
              <a:gd name="connsiteX38" fmla="*/ 0 w 7330060"/>
              <a:gd name="connsiteY38"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3503711 w 7330060"/>
              <a:gd name="connsiteY34" fmla="*/ 6858000 h 6860284"/>
              <a:gd name="connsiteX35" fmla="*/ 191343 w 7330060"/>
              <a:gd name="connsiteY35" fmla="*/ 6858000 h 6860284"/>
              <a:gd name="connsiteX36" fmla="*/ 0 w 7330060"/>
              <a:gd name="connsiteY36" fmla="*/ 6858000 h 6860284"/>
              <a:gd name="connsiteX37" fmla="*/ 0 w 7330060"/>
              <a:gd name="connsiteY37"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144801 w 7330060"/>
              <a:gd name="connsiteY32" fmla="*/ 6850562 h 6860284"/>
              <a:gd name="connsiteX33" fmla="*/ 3503711 w 7330060"/>
              <a:gd name="connsiteY33" fmla="*/ 6858000 h 6860284"/>
              <a:gd name="connsiteX34" fmla="*/ 191343 w 7330060"/>
              <a:gd name="connsiteY34" fmla="*/ 6858000 h 6860284"/>
              <a:gd name="connsiteX35" fmla="*/ 0 w 7330060"/>
              <a:gd name="connsiteY35" fmla="*/ 6858000 h 6860284"/>
              <a:gd name="connsiteX36" fmla="*/ 0 w 7330060"/>
              <a:gd name="connsiteY36"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3503711 w 7330060"/>
              <a:gd name="connsiteY32" fmla="*/ 6858000 h 6860284"/>
              <a:gd name="connsiteX33" fmla="*/ 191343 w 7330060"/>
              <a:gd name="connsiteY33" fmla="*/ 6858000 h 6860284"/>
              <a:gd name="connsiteX34" fmla="*/ 0 w 7330060"/>
              <a:gd name="connsiteY34" fmla="*/ 6858000 h 6860284"/>
              <a:gd name="connsiteX35" fmla="*/ 0 w 7330060"/>
              <a:gd name="connsiteY3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3503711 w 7330060"/>
              <a:gd name="connsiteY31" fmla="*/ 6858000 h 6860284"/>
              <a:gd name="connsiteX32" fmla="*/ 191343 w 7330060"/>
              <a:gd name="connsiteY32" fmla="*/ 6858000 h 6860284"/>
              <a:gd name="connsiteX33" fmla="*/ 0 w 7330060"/>
              <a:gd name="connsiteY33" fmla="*/ 6858000 h 6860284"/>
              <a:gd name="connsiteX34" fmla="*/ 0 w 7330060"/>
              <a:gd name="connsiteY3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3503711 w 7330060"/>
              <a:gd name="connsiteY30" fmla="*/ 6858000 h 6860284"/>
              <a:gd name="connsiteX31" fmla="*/ 191343 w 7330060"/>
              <a:gd name="connsiteY31" fmla="*/ 6858000 h 6860284"/>
              <a:gd name="connsiteX32" fmla="*/ 0 w 7330060"/>
              <a:gd name="connsiteY32" fmla="*/ 6858000 h 6860284"/>
              <a:gd name="connsiteX33" fmla="*/ 0 w 7330060"/>
              <a:gd name="connsiteY33" fmla="*/ 0 h 6860284"/>
              <a:gd name="connsiteX0" fmla="*/ 0 w 7330060"/>
              <a:gd name="connsiteY0" fmla="*/ 0 h 6863579"/>
              <a:gd name="connsiteX1" fmla="*/ 38666 w 7330060"/>
              <a:gd name="connsiteY1" fmla="*/ 0 h 6863579"/>
              <a:gd name="connsiteX2" fmla="*/ 155340 w 7330060"/>
              <a:gd name="connsiteY2" fmla="*/ 0 h 6863579"/>
              <a:gd name="connsiteX3" fmla="*/ 155340 w 7330060"/>
              <a:gd name="connsiteY3" fmla="*/ 32 h 6863579"/>
              <a:gd name="connsiteX4" fmla="*/ 4582309 w 7330060"/>
              <a:gd name="connsiteY4" fmla="*/ 1240 h 6863579"/>
              <a:gd name="connsiteX5" fmla="*/ 4690137 w 7330060"/>
              <a:gd name="connsiteY5" fmla="*/ 1240 h 6863579"/>
              <a:gd name="connsiteX6" fmla="*/ 4759543 w 7330060"/>
              <a:gd name="connsiteY6" fmla="*/ 1240 h 6863579"/>
              <a:gd name="connsiteX7" fmla="*/ 4823992 w 7330060"/>
              <a:gd name="connsiteY7" fmla="*/ 1240 h 6863579"/>
              <a:gd name="connsiteX8" fmla="*/ 4956608 w 7330060"/>
              <a:gd name="connsiteY8" fmla="*/ 1240 h 6863579"/>
              <a:gd name="connsiteX9" fmla="*/ 5070633 w 7330060"/>
              <a:gd name="connsiteY9" fmla="*/ 1240 h 6863579"/>
              <a:gd name="connsiteX10" fmla="*/ 5184658 w 7330060"/>
              <a:gd name="connsiteY10" fmla="*/ 1240 h 6863579"/>
              <a:gd name="connsiteX11" fmla="*/ 5261501 w 7330060"/>
              <a:gd name="connsiteY11" fmla="*/ 1240 h 6863579"/>
              <a:gd name="connsiteX12" fmla="*/ 5361892 w 7330060"/>
              <a:gd name="connsiteY12" fmla="*/ 1240 h 6863579"/>
              <a:gd name="connsiteX13" fmla="*/ 5406511 w 7330060"/>
              <a:gd name="connsiteY13" fmla="*/ 1240 h 6863579"/>
              <a:gd name="connsiteX14" fmla="*/ 5508141 w 7330060"/>
              <a:gd name="connsiteY14" fmla="*/ 1240 h 6863579"/>
              <a:gd name="connsiteX15" fmla="*/ 5756021 w 7330060"/>
              <a:gd name="connsiteY15" fmla="*/ 1240 h 6863579"/>
              <a:gd name="connsiteX16" fmla="*/ 5894834 w 7330060"/>
              <a:gd name="connsiteY16" fmla="*/ 1240 h 6863579"/>
              <a:gd name="connsiteX17" fmla="*/ 6085702 w 7330060"/>
              <a:gd name="connsiteY17" fmla="*/ 39670 h 6863579"/>
              <a:gd name="connsiteX18" fmla="*/ 6181136 w 7330060"/>
              <a:gd name="connsiteY18" fmla="*/ 59505 h 6863579"/>
              <a:gd name="connsiteX19" fmla="*/ 6484789 w 7330060"/>
              <a:gd name="connsiteY19" fmla="*/ 128928 h 6863579"/>
              <a:gd name="connsiteX20" fmla="*/ 6606250 w 7330060"/>
              <a:gd name="connsiteY20" fmla="*/ 163640 h 6863579"/>
              <a:gd name="connsiteX21" fmla="*/ 6877679 w 7330060"/>
              <a:gd name="connsiteY21" fmla="*/ 256617 h 6863579"/>
              <a:gd name="connsiteX22" fmla="*/ 7167699 w 7330060"/>
              <a:gd name="connsiteY22" fmla="*/ 409100 h 6863579"/>
              <a:gd name="connsiteX23" fmla="*/ 7328821 w 7330060"/>
              <a:gd name="connsiteY23" fmla="*/ 732661 h 6863579"/>
              <a:gd name="connsiteX24" fmla="*/ 7249499 w 7330060"/>
              <a:gd name="connsiteY24" fmla="*/ 1315318 h 6863579"/>
              <a:gd name="connsiteX25" fmla="*/ 6824385 w 7330060"/>
              <a:gd name="connsiteY25" fmla="*/ 2616999 h 6863579"/>
              <a:gd name="connsiteX26" fmla="*/ 5899792 w 7330060"/>
              <a:gd name="connsiteY26" fmla="*/ 4748037 h 6863579"/>
              <a:gd name="connsiteX27" fmla="*/ 4868611 w 7330060"/>
              <a:gd name="connsiteY27" fmla="*/ 6824528 h 6863579"/>
              <a:gd name="connsiteX28" fmla="*/ 4799855 w 7330060"/>
              <a:gd name="connsiteY28" fmla="*/ 6858000 h 6863579"/>
              <a:gd name="connsiteX29" fmla="*/ 3503711 w 7330060"/>
              <a:gd name="connsiteY29" fmla="*/ 6858000 h 6863579"/>
              <a:gd name="connsiteX30" fmla="*/ 191343 w 7330060"/>
              <a:gd name="connsiteY30" fmla="*/ 6858000 h 6863579"/>
              <a:gd name="connsiteX31" fmla="*/ 0 w 7330060"/>
              <a:gd name="connsiteY31" fmla="*/ 6858000 h 6863579"/>
              <a:gd name="connsiteX32" fmla="*/ 0 w 7330060"/>
              <a:gd name="connsiteY32" fmla="*/ 0 h 68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30060" h="6863579">
                <a:moveTo>
                  <a:pt x="0" y="0"/>
                </a:moveTo>
                <a:lnTo>
                  <a:pt x="38666" y="0"/>
                </a:lnTo>
                <a:lnTo>
                  <a:pt x="155340" y="0"/>
                </a:lnTo>
                <a:lnTo>
                  <a:pt x="155340" y="32"/>
                </a:lnTo>
                <a:lnTo>
                  <a:pt x="4582309" y="1240"/>
                </a:lnTo>
                <a:lnTo>
                  <a:pt x="4690137" y="1240"/>
                </a:lnTo>
                <a:lnTo>
                  <a:pt x="4759543" y="1240"/>
                </a:lnTo>
                <a:lnTo>
                  <a:pt x="4823992" y="1240"/>
                </a:lnTo>
                <a:lnTo>
                  <a:pt x="4956608" y="1240"/>
                </a:lnTo>
                <a:lnTo>
                  <a:pt x="5070633" y="1240"/>
                </a:lnTo>
                <a:lnTo>
                  <a:pt x="5184658" y="1240"/>
                </a:lnTo>
                <a:lnTo>
                  <a:pt x="5261501" y="1240"/>
                </a:lnTo>
                <a:lnTo>
                  <a:pt x="5361892" y="1240"/>
                </a:lnTo>
                <a:lnTo>
                  <a:pt x="5406511" y="1240"/>
                </a:lnTo>
                <a:lnTo>
                  <a:pt x="5508141" y="1240"/>
                </a:lnTo>
                <a:lnTo>
                  <a:pt x="5756021" y="1240"/>
                </a:lnTo>
                <a:lnTo>
                  <a:pt x="5894834" y="1240"/>
                </a:lnTo>
                <a:cubicBezTo>
                  <a:pt x="5956804" y="19835"/>
                  <a:pt x="6022493" y="24794"/>
                  <a:pt x="6085702" y="39670"/>
                </a:cubicBezTo>
                <a:cubicBezTo>
                  <a:pt x="6116687" y="47109"/>
                  <a:pt x="6148911" y="53307"/>
                  <a:pt x="6181136" y="59505"/>
                </a:cubicBezTo>
                <a:cubicBezTo>
                  <a:pt x="6282767" y="78101"/>
                  <a:pt x="6384398" y="102895"/>
                  <a:pt x="6484789" y="128928"/>
                </a:cubicBezTo>
                <a:cubicBezTo>
                  <a:pt x="6525689" y="138846"/>
                  <a:pt x="6566589" y="148764"/>
                  <a:pt x="6606250" y="163640"/>
                </a:cubicBezTo>
                <a:cubicBezTo>
                  <a:pt x="6699205" y="188434"/>
                  <a:pt x="6789682" y="218187"/>
                  <a:pt x="6877679" y="256617"/>
                </a:cubicBezTo>
                <a:cubicBezTo>
                  <a:pt x="6981789" y="295048"/>
                  <a:pt x="7078462" y="344636"/>
                  <a:pt x="7167699" y="409100"/>
                </a:cubicBezTo>
                <a:cubicBezTo>
                  <a:pt x="7279245" y="489680"/>
                  <a:pt x="7327581" y="597534"/>
                  <a:pt x="7328821" y="732661"/>
                </a:cubicBezTo>
                <a:cubicBezTo>
                  <a:pt x="7330060" y="931012"/>
                  <a:pt x="7295357" y="1124405"/>
                  <a:pt x="7249499" y="1315318"/>
                </a:cubicBezTo>
                <a:cubicBezTo>
                  <a:pt x="7142911" y="1760369"/>
                  <a:pt x="6989225" y="2190544"/>
                  <a:pt x="6824385" y="2616999"/>
                </a:cubicBezTo>
                <a:cubicBezTo>
                  <a:pt x="6545520" y="3340982"/>
                  <a:pt x="6229473" y="4047609"/>
                  <a:pt x="5899792" y="4748037"/>
                </a:cubicBezTo>
                <a:cubicBezTo>
                  <a:pt x="5571351" y="5447226"/>
                  <a:pt x="5225558" y="6138976"/>
                  <a:pt x="4868611" y="6824528"/>
                </a:cubicBezTo>
                <a:cubicBezTo>
                  <a:pt x="4858695" y="6844364"/>
                  <a:pt x="4823403" y="6858000"/>
                  <a:pt x="4799855" y="6858000"/>
                </a:cubicBezTo>
                <a:cubicBezTo>
                  <a:pt x="4572372" y="6863579"/>
                  <a:pt x="4271796" y="6858000"/>
                  <a:pt x="3503711" y="6858000"/>
                </a:cubicBezTo>
                <a:lnTo>
                  <a:pt x="191343" y="6858000"/>
                </a:lnTo>
                <a:lnTo>
                  <a:pt x="0" y="6858000"/>
                </a:lnTo>
                <a:lnTo>
                  <a:pt x="0" y="0"/>
                </a:lnTo>
                <a:close/>
              </a:path>
            </a:pathLst>
          </a:custGeom>
          <a:gradFill>
            <a:gsLst>
              <a:gs pos="69000">
                <a:schemeClr val="bg2"/>
              </a:gs>
              <a:gs pos="0">
                <a:schemeClr val="accent1"/>
              </a:gs>
              <a:gs pos="88000">
                <a:schemeClr val="accent1">
                  <a:alpha val="60000"/>
                </a:schemeClr>
              </a:gs>
            </a:gsLst>
            <a:lin ang="600000" scaled="0"/>
          </a:gradFill>
        </p:spPr>
        <p:txBody>
          <a:bodyPr wrap="square" lIns="504000" tIns="360000" rIns="1260000" bIns="3780000" anchor="b" anchorCtr="0">
            <a:noAutofit/>
          </a:bodyPr>
          <a:lstStyle>
            <a:lvl1pPr algn="l">
              <a:defRPr sz="4000" baseline="0">
                <a:solidFill>
                  <a:schemeClr val="bg1"/>
                </a:solidFill>
              </a:defRPr>
            </a:lvl1pPr>
          </a:lstStyle>
          <a:p>
            <a:r>
              <a:rPr lang="de-DE"/>
              <a:t>Titelmasterformat durch  Klicken bearbeiten</a:t>
            </a:r>
          </a:p>
        </p:txBody>
      </p:sp>
      <p:sp>
        <p:nvSpPr>
          <p:cNvPr id="10" name="Textplatzhalter 9"/>
          <p:cNvSpPr>
            <a:spLocks noGrp="1"/>
          </p:cNvSpPr>
          <p:nvPr>
            <p:ph type="body" sz="quarter" idx="11" hasCustomPrompt="1"/>
          </p:nvPr>
        </p:nvSpPr>
        <p:spPr>
          <a:xfrm>
            <a:off x="514800" y="6129300"/>
            <a:ext cx="4032000"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sp>
        <p:nvSpPr>
          <p:cNvPr id="3" name="Untertitel 2"/>
          <p:cNvSpPr>
            <a:spLocks noGrp="1"/>
          </p:cNvSpPr>
          <p:nvPr>
            <p:ph type="subTitle" idx="1"/>
          </p:nvPr>
        </p:nvSpPr>
        <p:spPr>
          <a:xfrm>
            <a:off x="514800" y="3384000"/>
            <a:ext cx="4899347" cy="615553"/>
          </a:xfrm>
        </p:spPr>
        <p:txBody>
          <a:bodyPr>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cxnSp>
        <p:nvCxnSpPr>
          <p:cNvPr id="3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37"/>
          <p:cNvSpPr>
            <a:spLocks noGrp="1"/>
          </p:cNvSpPr>
          <p:nvPr>
            <p:ph type="body" sz="quarter" idx="14"/>
          </p:nvPr>
        </p:nvSpPr>
        <p:spPr bwMode="gray">
          <a:xfrm>
            <a:off x="8274943" y="5147834"/>
            <a:ext cx="3917057" cy="1710167"/>
          </a:xfrm>
          <a:custGeom>
            <a:avLst/>
            <a:gdLst>
              <a:gd name="connsiteX0" fmla="*/ 3917057 w 3917057"/>
              <a:gd name="connsiteY0" fmla="*/ 0 h 1710167"/>
              <a:gd name="connsiteX1" fmla="*/ 3917057 w 3917057"/>
              <a:gd name="connsiteY1" fmla="*/ 1710167 h 1710167"/>
              <a:gd name="connsiteX2" fmla="*/ 840909 w 3917057"/>
              <a:gd name="connsiteY2" fmla="*/ 1710167 h 1710167"/>
              <a:gd name="connsiteX3" fmla="*/ 727104 w 3917057"/>
              <a:gd name="connsiteY3" fmla="*/ 1610865 h 1710167"/>
              <a:gd name="connsiteX4" fmla="*/ 20206 w 3917057"/>
              <a:gd name="connsiteY4" fmla="*/ 655140 h 1710167"/>
              <a:gd name="connsiteX5" fmla="*/ 3917057 w 3917057"/>
              <a:gd name="connsiteY5" fmla="*/ 0 h 17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7057" h="1710167">
                <a:moveTo>
                  <a:pt x="3917057" y="0"/>
                </a:moveTo>
                <a:lnTo>
                  <a:pt x="3917057" y="1710167"/>
                </a:lnTo>
                <a:lnTo>
                  <a:pt x="840909" y="1710167"/>
                </a:lnTo>
                <a:lnTo>
                  <a:pt x="727104" y="1610865"/>
                </a:lnTo>
                <a:cubicBezTo>
                  <a:pt x="222630" y="1158465"/>
                  <a:pt x="-83750" y="791517"/>
                  <a:pt x="20206" y="655140"/>
                </a:cubicBezTo>
                <a:cubicBezTo>
                  <a:pt x="173334" y="462296"/>
                  <a:pt x="2343531" y="140010"/>
                  <a:pt x="3917057" y="0"/>
                </a:cubicBezTo>
                <a:close/>
              </a:path>
            </a:pathLst>
          </a:custGeom>
          <a:solidFill>
            <a:schemeClr val="bg1"/>
          </a:solidFill>
        </p:spPr>
        <p:txBody>
          <a:bodyPr wrap="square" anchor="ctr">
            <a:noAutofit/>
          </a:bodyPr>
          <a:lstStyle>
            <a:lvl1pPr marL="0" indent="0" algn="ctr">
              <a:buFont typeface="Arial" panose="020B0604020202020204" pitchFamily="34" charset="0"/>
              <a:buNone/>
              <a:defRPr sz="1200">
                <a:solidFill>
                  <a:schemeClr val="bg1"/>
                </a:solidFill>
              </a:defRPr>
            </a:lvl1pPr>
            <a:lvl2pPr marL="0" indent="0">
              <a:buFont typeface="Arial" panose="020B0604020202020204" pitchFamily="34" charset="0"/>
              <a:buNone/>
              <a:defRPr sz="1200">
                <a:solidFill>
                  <a:schemeClr val="bg1"/>
                </a:solidFill>
              </a:defRPr>
            </a:lvl2pPr>
            <a:lvl3pPr marL="0" indent="0">
              <a:buNone/>
              <a:defRPr sz="1200">
                <a:solidFill>
                  <a:schemeClr val="bg1"/>
                </a:solidFill>
              </a:defRPr>
            </a:lvl3pPr>
            <a:lvl4pPr marL="0" indent="0">
              <a:buNone/>
              <a:defRPr sz="1200">
                <a:solidFill>
                  <a:schemeClr val="bg1"/>
                </a:solidFill>
              </a:defRPr>
            </a:lvl4pPr>
            <a:lvl5pPr marL="0" indent="0">
              <a:buNone/>
              <a:defRPr sz="1200">
                <a:solidFill>
                  <a:schemeClr val="bg1"/>
                </a:solidFill>
              </a:defRPr>
            </a:lvl5pPr>
          </a:lstStyle>
          <a:p>
            <a:pPr lvl="0"/>
            <a:r>
              <a:rPr lang="de-DE"/>
              <a:t>Textmasterformat bearbeiten</a:t>
            </a:r>
          </a:p>
        </p:txBody>
      </p:sp>
    </p:spTree>
    <p:extLst>
      <p:ext uri="{BB962C8B-B14F-4D97-AF65-F5344CB8AC3E}">
        <p14:creationId xmlns:p14="http://schemas.microsoft.com/office/powerpoint/2010/main" val="2848950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bschlussfolie mit Botschaft">
    <p:bg>
      <p:bgPr>
        <a:solidFill>
          <a:srgbClr val="E7E7E8"/>
        </a:solidFill>
        <a:effectLst/>
      </p:bgPr>
    </p:bg>
    <p:spTree>
      <p:nvGrpSpPr>
        <p:cNvPr id="1" name=""/>
        <p:cNvGrpSpPr/>
        <p:nvPr/>
      </p:nvGrpSpPr>
      <p:grpSpPr>
        <a:xfrm>
          <a:off x="0" y="0"/>
          <a:ext cx="0" cy="0"/>
          <a:chOff x="0" y="0"/>
          <a:chExt cx="0" cy="0"/>
        </a:xfrm>
      </p:grpSpPr>
      <p:sp>
        <p:nvSpPr>
          <p:cNvPr id="5" name="Titel 17"/>
          <p:cNvSpPr>
            <a:spLocks noGrp="1"/>
          </p:cNvSpPr>
          <p:nvPr>
            <p:ph type="title" hasCustomPrompt="1"/>
          </p:nvPr>
        </p:nvSpPr>
        <p:spPr bwMode="gray">
          <a:xfrm>
            <a:off x="0" y="2495393"/>
            <a:ext cx="7832903" cy="4376896"/>
          </a:xfrm>
          <a:custGeom>
            <a:avLst/>
            <a:gdLst>
              <a:gd name="connsiteX0" fmla="*/ 1336828 w 7089431"/>
              <a:gd name="connsiteY0" fmla="*/ 0 h 3957236"/>
              <a:gd name="connsiteX1" fmla="*/ 2037688 w 7089431"/>
              <a:gd name="connsiteY1" fmla="*/ 3205 h 3957236"/>
              <a:gd name="connsiteX2" fmla="*/ 2370517 w 7089431"/>
              <a:gd name="connsiteY2" fmla="*/ 9613 h 3957236"/>
              <a:gd name="connsiteX3" fmla="*/ 3000971 w 7089431"/>
              <a:gd name="connsiteY3" fmla="*/ 28839 h 3957236"/>
              <a:gd name="connsiteX4" fmla="*/ 3535417 w 7089431"/>
              <a:gd name="connsiteY4" fmla="*/ 54472 h 3957236"/>
              <a:gd name="connsiteX5" fmla="*/ 4290682 w 7089431"/>
              <a:gd name="connsiteY5" fmla="*/ 105741 h 3957236"/>
              <a:gd name="connsiteX6" fmla="*/ 4994743 w 7089431"/>
              <a:gd name="connsiteY6" fmla="*/ 176234 h 3957236"/>
              <a:gd name="connsiteX7" fmla="*/ 5890820 w 7089431"/>
              <a:gd name="connsiteY7" fmla="*/ 317220 h 3957236"/>
              <a:gd name="connsiteX8" fmla="*/ 6121240 w 7089431"/>
              <a:gd name="connsiteY8" fmla="*/ 368488 h 3957236"/>
              <a:gd name="connsiteX9" fmla="*/ 6370862 w 7089431"/>
              <a:gd name="connsiteY9" fmla="*/ 432573 h 3957236"/>
              <a:gd name="connsiteX10" fmla="*/ 6854103 w 7089431"/>
              <a:gd name="connsiteY10" fmla="*/ 628031 h 3957236"/>
              <a:gd name="connsiteX11" fmla="*/ 6966113 w 7089431"/>
              <a:gd name="connsiteY11" fmla="*/ 711342 h 3957236"/>
              <a:gd name="connsiteX12" fmla="*/ 7087723 w 7089431"/>
              <a:gd name="connsiteY12" fmla="*/ 980498 h 3957236"/>
              <a:gd name="connsiteX13" fmla="*/ 7020518 w 7089431"/>
              <a:gd name="connsiteY13" fmla="*/ 1541240 h 3957236"/>
              <a:gd name="connsiteX14" fmla="*/ 6646085 w 7089431"/>
              <a:gd name="connsiteY14" fmla="*/ 2739625 h 3957236"/>
              <a:gd name="connsiteX15" fmla="*/ 6159643 w 7089431"/>
              <a:gd name="connsiteY15" fmla="*/ 3934806 h 3957236"/>
              <a:gd name="connsiteX16" fmla="*/ 6153243 w 7089431"/>
              <a:gd name="connsiteY16" fmla="*/ 3954032 h 3957236"/>
              <a:gd name="connsiteX17" fmla="*/ 5846017 w 7089431"/>
              <a:gd name="connsiteY17" fmla="*/ 3954032 h 3957236"/>
              <a:gd name="connsiteX18" fmla="*/ 5660400 w 7089431"/>
              <a:gd name="connsiteY18" fmla="*/ 3954032 h 3957236"/>
              <a:gd name="connsiteX19" fmla="*/ 5468384 w 7089431"/>
              <a:gd name="connsiteY19" fmla="*/ 3954032 h 3957236"/>
              <a:gd name="connsiteX20" fmla="*/ 5269967 w 7089431"/>
              <a:gd name="connsiteY20" fmla="*/ 3954032 h 3957236"/>
              <a:gd name="connsiteX21" fmla="*/ 4914736 w 7089431"/>
              <a:gd name="connsiteY21" fmla="*/ 3954032 h 3957236"/>
              <a:gd name="connsiteX22" fmla="*/ 27915 w 7089431"/>
              <a:gd name="connsiteY22" fmla="*/ 3957236 h 3957236"/>
              <a:gd name="connsiteX23" fmla="*/ 5113 w 7089431"/>
              <a:gd name="connsiteY23" fmla="*/ 3950828 h 3957236"/>
              <a:gd name="connsiteX24" fmla="*/ 0 w 7089431"/>
              <a:gd name="connsiteY24" fmla="*/ 3928987 h 3957236"/>
              <a:gd name="connsiteX25" fmla="*/ 0 w 7089431"/>
              <a:gd name="connsiteY25" fmla="*/ 22408 h 3957236"/>
              <a:gd name="connsiteX26" fmla="*/ 635967 w 7089431"/>
              <a:gd name="connsiteY26" fmla="*/ 6409 h 3957236"/>
              <a:gd name="connsiteX27" fmla="*/ 1336828 w 7089431"/>
              <a:gd name="connsiteY27" fmla="*/ 0 h 3957236"/>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53244 w 7097325"/>
              <a:gd name="connsiteY16" fmla="*/ 3954032 h 3962042"/>
              <a:gd name="connsiteX17" fmla="*/ 5846018 w 7097325"/>
              <a:gd name="connsiteY17" fmla="*/ 3954032 h 3962042"/>
              <a:gd name="connsiteX18" fmla="*/ 5660401 w 7097325"/>
              <a:gd name="connsiteY18" fmla="*/ 3954032 h 3962042"/>
              <a:gd name="connsiteX19" fmla="*/ 5468385 w 7097325"/>
              <a:gd name="connsiteY19" fmla="*/ 3954032 h 3962042"/>
              <a:gd name="connsiteX20" fmla="*/ 5269968 w 7097325"/>
              <a:gd name="connsiteY20" fmla="*/ 3954032 h 3962042"/>
              <a:gd name="connsiteX21" fmla="*/ 4914737 w 7097325"/>
              <a:gd name="connsiteY21" fmla="*/ 3954032 h 3962042"/>
              <a:gd name="connsiteX22" fmla="*/ 27916 w 7097325"/>
              <a:gd name="connsiteY22" fmla="*/ 3957236 h 3962042"/>
              <a:gd name="connsiteX23" fmla="*/ 0 w 7097325"/>
              <a:gd name="connsiteY23" fmla="*/ 3957236 h 3962042"/>
              <a:gd name="connsiteX24" fmla="*/ 1 w 7097325"/>
              <a:gd name="connsiteY24" fmla="*/ 3928987 h 3962042"/>
              <a:gd name="connsiteX25" fmla="*/ 1 w 7097325"/>
              <a:gd name="connsiteY25" fmla="*/ 22408 h 3962042"/>
              <a:gd name="connsiteX26" fmla="*/ 635968 w 7097325"/>
              <a:gd name="connsiteY26" fmla="*/ 6409 h 3962042"/>
              <a:gd name="connsiteX27" fmla="*/ 1336829 w 7097325"/>
              <a:gd name="connsiteY27"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53244 w 7097325"/>
              <a:gd name="connsiteY16" fmla="*/ 3954032 h 3962042"/>
              <a:gd name="connsiteX17" fmla="*/ 5849761 w 7097325"/>
              <a:gd name="connsiteY17" fmla="*/ 3957236 h 3962042"/>
              <a:gd name="connsiteX18" fmla="*/ 5660401 w 7097325"/>
              <a:gd name="connsiteY18" fmla="*/ 3954032 h 3962042"/>
              <a:gd name="connsiteX19" fmla="*/ 5468385 w 7097325"/>
              <a:gd name="connsiteY19" fmla="*/ 3954032 h 3962042"/>
              <a:gd name="connsiteX20" fmla="*/ 5269968 w 7097325"/>
              <a:gd name="connsiteY20" fmla="*/ 3954032 h 3962042"/>
              <a:gd name="connsiteX21" fmla="*/ 4914737 w 7097325"/>
              <a:gd name="connsiteY21" fmla="*/ 3954032 h 3962042"/>
              <a:gd name="connsiteX22" fmla="*/ 27916 w 7097325"/>
              <a:gd name="connsiteY22" fmla="*/ 3957236 h 3962042"/>
              <a:gd name="connsiteX23" fmla="*/ 0 w 7097325"/>
              <a:gd name="connsiteY23" fmla="*/ 3957236 h 3962042"/>
              <a:gd name="connsiteX24" fmla="*/ 1 w 7097325"/>
              <a:gd name="connsiteY24" fmla="*/ 3928987 h 3962042"/>
              <a:gd name="connsiteX25" fmla="*/ 1 w 7097325"/>
              <a:gd name="connsiteY25" fmla="*/ 22408 h 3962042"/>
              <a:gd name="connsiteX26" fmla="*/ 635968 w 7097325"/>
              <a:gd name="connsiteY26" fmla="*/ 6409 h 3962042"/>
              <a:gd name="connsiteX27" fmla="*/ 1336829 w 7097325"/>
              <a:gd name="connsiteY27"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53244 w 7097325"/>
              <a:gd name="connsiteY16" fmla="*/ 3954032 h 3962042"/>
              <a:gd name="connsiteX17" fmla="*/ 5849761 w 7097325"/>
              <a:gd name="connsiteY17" fmla="*/ 3957236 h 3962042"/>
              <a:gd name="connsiteX18" fmla="*/ 5660401 w 7097325"/>
              <a:gd name="connsiteY18" fmla="*/ 3954032 h 3962042"/>
              <a:gd name="connsiteX19" fmla="*/ 5468385 w 7097325"/>
              <a:gd name="connsiteY19" fmla="*/ 3954032 h 3962042"/>
              <a:gd name="connsiteX20" fmla="*/ 5269968 w 7097325"/>
              <a:gd name="connsiteY20" fmla="*/ 3954032 h 3962042"/>
              <a:gd name="connsiteX21" fmla="*/ 4914737 w 7097325"/>
              <a:gd name="connsiteY21" fmla="*/ 3954032 h 3962042"/>
              <a:gd name="connsiteX22" fmla="*/ 27916 w 7097325"/>
              <a:gd name="connsiteY22" fmla="*/ 3957236 h 3962042"/>
              <a:gd name="connsiteX23" fmla="*/ 0 w 7097325"/>
              <a:gd name="connsiteY23" fmla="*/ 3957236 h 3962042"/>
              <a:gd name="connsiteX24" fmla="*/ 1 w 7097325"/>
              <a:gd name="connsiteY24" fmla="*/ 3928987 h 3962042"/>
              <a:gd name="connsiteX25" fmla="*/ 1 w 7097325"/>
              <a:gd name="connsiteY25" fmla="*/ 22408 h 3962042"/>
              <a:gd name="connsiteX26" fmla="*/ 635968 w 7097325"/>
              <a:gd name="connsiteY26" fmla="*/ 6409 h 3962042"/>
              <a:gd name="connsiteX27" fmla="*/ 1336829 w 7097325"/>
              <a:gd name="connsiteY27"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5849761 w 7097325"/>
              <a:gd name="connsiteY17" fmla="*/ 3957236 h 3962042"/>
              <a:gd name="connsiteX18" fmla="*/ 5660401 w 7097325"/>
              <a:gd name="connsiteY18" fmla="*/ 3954032 h 3962042"/>
              <a:gd name="connsiteX19" fmla="*/ 5468385 w 7097325"/>
              <a:gd name="connsiteY19" fmla="*/ 3954032 h 3962042"/>
              <a:gd name="connsiteX20" fmla="*/ 5269968 w 7097325"/>
              <a:gd name="connsiteY20" fmla="*/ 3954032 h 3962042"/>
              <a:gd name="connsiteX21" fmla="*/ 4914737 w 7097325"/>
              <a:gd name="connsiteY21" fmla="*/ 3954032 h 3962042"/>
              <a:gd name="connsiteX22" fmla="*/ 27916 w 7097325"/>
              <a:gd name="connsiteY22" fmla="*/ 3957236 h 3962042"/>
              <a:gd name="connsiteX23" fmla="*/ 0 w 7097325"/>
              <a:gd name="connsiteY23" fmla="*/ 3957236 h 3962042"/>
              <a:gd name="connsiteX24" fmla="*/ 1 w 7097325"/>
              <a:gd name="connsiteY24" fmla="*/ 3928987 h 3962042"/>
              <a:gd name="connsiteX25" fmla="*/ 1 w 7097325"/>
              <a:gd name="connsiteY25" fmla="*/ 22408 h 3962042"/>
              <a:gd name="connsiteX26" fmla="*/ 635968 w 7097325"/>
              <a:gd name="connsiteY26" fmla="*/ 6409 h 3962042"/>
              <a:gd name="connsiteX27" fmla="*/ 1336829 w 7097325"/>
              <a:gd name="connsiteY27"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5849761 w 7097325"/>
              <a:gd name="connsiteY17" fmla="*/ 3957236 h 3962042"/>
              <a:gd name="connsiteX18" fmla="*/ 5468385 w 7097325"/>
              <a:gd name="connsiteY18" fmla="*/ 3954032 h 3962042"/>
              <a:gd name="connsiteX19" fmla="*/ 5269968 w 7097325"/>
              <a:gd name="connsiteY19" fmla="*/ 3954032 h 3962042"/>
              <a:gd name="connsiteX20" fmla="*/ 4914737 w 7097325"/>
              <a:gd name="connsiteY20" fmla="*/ 3954032 h 3962042"/>
              <a:gd name="connsiteX21" fmla="*/ 27916 w 7097325"/>
              <a:gd name="connsiteY21" fmla="*/ 3957236 h 3962042"/>
              <a:gd name="connsiteX22" fmla="*/ 0 w 7097325"/>
              <a:gd name="connsiteY22" fmla="*/ 3957236 h 3962042"/>
              <a:gd name="connsiteX23" fmla="*/ 1 w 7097325"/>
              <a:gd name="connsiteY23" fmla="*/ 3928987 h 3962042"/>
              <a:gd name="connsiteX24" fmla="*/ 1 w 7097325"/>
              <a:gd name="connsiteY24" fmla="*/ 22408 h 3962042"/>
              <a:gd name="connsiteX25" fmla="*/ 635968 w 7097325"/>
              <a:gd name="connsiteY25" fmla="*/ 6409 h 3962042"/>
              <a:gd name="connsiteX26" fmla="*/ 1336829 w 7097325"/>
              <a:gd name="connsiteY26"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5849761 w 7097325"/>
              <a:gd name="connsiteY17" fmla="*/ 3957236 h 3962042"/>
              <a:gd name="connsiteX18" fmla="*/ 5269968 w 7097325"/>
              <a:gd name="connsiteY18" fmla="*/ 3954032 h 3962042"/>
              <a:gd name="connsiteX19" fmla="*/ 4914737 w 7097325"/>
              <a:gd name="connsiteY19" fmla="*/ 3954032 h 3962042"/>
              <a:gd name="connsiteX20" fmla="*/ 27916 w 7097325"/>
              <a:gd name="connsiteY20" fmla="*/ 3957236 h 3962042"/>
              <a:gd name="connsiteX21" fmla="*/ 0 w 7097325"/>
              <a:gd name="connsiteY21" fmla="*/ 3957236 h 3962042"/>
              <a:gd name="connsiteX22" fmla="*/ 1 w 7097325"/>
              <a:gd name="connsiteY22" fmla="*/ 3928987 h 3962042"/>
              <a:gd name="connsiteX23" fmla="*/ 1 w 7097325"/>
              <a:gd name="connsiteY23" fmla="*/ 22408 h 3962042"/>
              <a:gd name="connsiteX24" fmla="*/ 635968 w 7097325"/>
              <a:gd name="connsiteY24" fmla="*/ 6409 h 3962042"/>
              <a:gd name="connsiteX25" fmla="*/ 1336829 w 7097325"/>
              <a:gd name="connsiteY25"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5849761 w 7097325"/>
              <a:gd name="connsiteY17" fmla="*/ 3957236 h 3962042"/>
              <a:gd name="connsiteX18" fmla="*/ 4914737 w 7097325"/>
              <a:gd name="connsiteY18" fmla="*/ 3954032 h 3962042"/>
              <a:gd name="connsiteX19" fmla="*/ 27916 w 7097325"/>
              <a:gd name="connsiteY19" fmla="*/ 3957236 h 3962042"/>
              <a:gd name="connsiteX20" fmla="*/ 0 w 7097325"/>
              <a:gd name="connsiteY20" fmla="*/ 3957236 h 3962042"/>
              <a:gd name="connsiteX21" fmla="*/ 1 w 7097325"/>
              <a:gd name="connsiteY21" fmla="*/ 3928987 h 3962042"/>
              <a:gd name="connsiteX22" fmla="*/ 1 w 7097325"/>
              <a:gd name="connsiteY22" fmla="*/ 22408 h 3962042"/>
              <a:gd name="connsiteX23" fmla="*/ 635968 w 7097325"/>
              <a:gd name="connsiteY23" fmla="*/ 6409 h 3962042"/>
              <a:gd name="connsiteX24" fmla="*/ 1336829 w 7097325"/>
              <a:gd name="connsiteY24"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4914737 w 7097325"/>
              <a:gd name="connsiteY17" fmla="*/ 3954032 h 3962042"/>
              <a:gd name="connsiteX18" fmla="*/ 27916 w 7097325"/>
              <a:gd name="connsiteY18" fmla="*/ 3957236 h 3962042"/>
              <a:gd name="connsiteX19" fmla="*/ 0 w 7097325"/>
              <a:gd name="connsiteY19" fmla="*/ 3957236 h 3962042"/>
              <a:gd name="connsiteX20" fmla="*/ 1 w 7097325"/>
              <a:gd name="connsiteY20" fmla="*/ 3928987 h 3962042"/>
              <a:gd name="connsiteX21" fmla="*/ 1 w 7097325"/>
              <a:gd name="connsiteY21" fmla="*/ 22408 h 3962042"/>
              <a:gd name="connsiteX22" fmla="*/ 635968 w 7097325"/>
              <a:gd name="connsiteY22" fmla="*/ 6409 h 3962042"/>
              <a:gd name="connsiteX23" fmla="*/ 1336829 w 7097325"/>
              <a:gd name="connsiteY23"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4914737 w 7097325"/>
              <a:gd name="connsiteY17" fmla="*/ 3954032 h 3962042"/>
              <a:gd name="connsiteX18" fmla="*/ 27916 w 7097325"/>
              <a:gd name="connsiteY18" fmla="*/ 3957236 h 3962042"/>
              <a:gd name="connsiteX19" fmla="*/ 0 w 7097325"/>
              <a:gd name="connsiteY19" fmla="*/ 3957236 h 3962042"/>
              <a:gd name="connsiteX20" fmla="*/ 1 w 7097325"/>
              <a:gd name="connsiteY20" fmla="*/ 3928987 h 3962042"/>
              <a:gd name="connsiteX21" fmla="*/ 1 w 7097325"/>
              <a:gd name="connsiteY21" fmla="*/ 22408 h 3962042"/>
              <a:gd name="connsiteX22" fmla="*/ 635968 w 7097325"/>
              <a:gd name="connsiteY22" fmla="*/ 6409 h 3962042"/>
              <a:gd name="connsiteX23" fmla="*/ 1336829 w 7097325"/>
              <a:gd name="connsiteY23" fmla="*/ 0 h 3962042"/>
              <a:gd name="connsiteX0" fmla="*/ 1336829 w 7097325"/>
              <a:gd name="connsiteY0" fmla="*/ 0 h 3962042"/>
              <a:gd name="connsiteX1" fmla="*/ 2037689 w 7097325"/>
              <a:gd name="connsiteY1" fmla="*/ 3205 h 3962042"/>
              <a:gd name="connsiteX2" fmla="*/ 2370518 w 7097325"/>
              <a:gd name="connsiteY2" fmla="*/ 9613 h 3962042"/>
              <a:gd name="connsiteX3" fmla="*/ 3000972 w 7097325"/>
              <a:gd name="connsiteY3" fmla="*/ 28839 h 3962042"/>
              <a:gd name="connsiteX4" fmla="*/ 3535418 w 7097325"/>
              <a:gd name="connsiteY4" fmla="*/ 54472 h 3962042"/>
              <a:gd name="connsiteX5" fmla="*/ 4290683 w 7097325"/>
              <a:gd name="connsiteY5" fmla="*/ 105741 h 3962042"/>
              <a:gd name="connsiteX6" fmla="*/ 4994744 w 7097325"/>
              <a:gd name="connsiteY6" fmla="*/ 176234 h 3962042"/>
              <a:gd name="connsiteX7" fmla="*/ 5890821 w 7097325"/>
              <a:gd name="connsiteY7" fmla="*/ 317220 h 3962042"/>
              <a:gd name="connsiteX8" fmla="*/ 6121241 w 7097325"/>
              <a:gd name="connsiteY8" fmla="*/ 368488 h 3962042"/>
              <a:gd name="connsiteX9" fmla="*/ 6370863 w 7097325"/>
              <a:gd name="connsiteY9" fmla="*/ 432573 h 3962042"/>
              <a:gd name="connsiteX10" fmla="*/ 6854104 w 7097325"/>
              <a:gd name="connsiteY10" fmla="*/ 628031 h 3962042"/>
              <a:gd name="connsiteX11" fmla="*/ 6966114 w 7097325"/>
              <a:gd name="connsiteY11" fmla="*/ 711342 h 3962042"/>
              <a:gd name="connsiteX12" fmla="*/ 7087724 w 7097325"/>
              <a:gd name="connsiteY12" fmla="*/ 980498 h 3962042"/>
              <a:gd name="connsiteX13" fmla="*/ 7020519 w 7097325"/>
              <a:gd name="connsiteY13" fmla="*/ 1541240 h 3962042"/>
              <a:gd name="connsiteX14" fmla="*/ 6646086 w 7097325"/>
              <a:gd name="connsiteY14" fmla="*/ 2739625 h 3962042"/>
              <a:gd name="connsiteX15" fmla="*/ 6159644 w 7097325"/>
              <a:gd name="connsiteY15" fmla="*/ 3934806 h 3962042"/>
              <a:gd name="connsiteX16" fmla="*/ 6143368 w 7097325"/>
              <a:gd name="connsiteY16" fmla="*/ 3957236 h 3962042"/>
              <a:gd name="connsiteX17" fmla="*/ 4914737 w 7097325"/>
              <a:gd name="connsiteY17" fmla="*/ 3954032 h 3962042"/>
              <a:gd name="connsiteX18" fmla="*/ 27916 w 7097325"/>
              <a:gd name="connsiteY18" fmla="*/ 3957236 h 3962042"/>
              <a:gd name="connsiteX19" fmla="*/ 0 w 7097325"/>
              <a:gd name="connsiteY19" fmla="*/ 3957236 h 3962042"/>
              <a:gd name="connsiteX20" fmla="*/ 1 w 7097325"/>
              <a:gd name="connsiteY20" fmla="*/ 3928987 h 3962042"/>
              <a:gd name="connsiteX21" fmla="*/ 1 w 7097325"/>
              <a:gd name="connsiteY21" fmla="*/ 22408 h 3962042"/>
              <a:gd name="connsiteX22" fmla="*/ 635968 w 7097325"/>
              <a:gd name="connsiteY22" fmla="*/ 6409 h 3962042"/>
              <a:gd name="connsiteX23" fmla="*/ 1336829 w 7097325"/>
              <a:gd name="connsiteY23" fmla="*/ 0 h 3962042"/>
              <a:gd name="connsiteX0" fmla="*/ 1336829 w 7097325"/>
              <a:gd name="connsiteY0" fmla="*/ 0 h 3960440"/>
              <a:gd name="connsiteX1" fmla="*/ 2037689 w 7097325"/>
              <a:gd name="connsiteY1" fmla="*/ 3205 h 3960440"/>
              <a:gd name="connsiteX2" fmla="*/ 2370518 w 7097325"/>
              <a:gd name="connsiteY2" fmla="*/ 9613 h 3960440"/>
              <a:gd name="connsiteX3" fmla="*/ 3000972 w 7097325"/>
              <a:gd name="connsiteY3" fmla="*/ 28839 h 3960440"/>
              <a:gd name="connsiteX4" fmla="*/ 3535418 w 7097325"/>
              <a:gd name="connsiteY4" fmla="*/ 54472 h 3960440"/>
              <a:gd name="connsiteX5" fmla="*/ 4290683 w 7097325"/>
              <a:gd name="connsiteY5" fmla="*/ 105741 h 3960440"/>
              <a:gd name="connsiteX6" fmla="*/ 4994744 w 7097325"/>
              <a:gd name="connsiteY6" fmla="*/ 176234 h 3960440"/>
              <a:gd name="connsiteX7" fmla="*/ 5890821 w 7097325"/>
              <a:gd name="connsiteY7" fmla="*/ 317220 h 3960440"/>
              <a:gd name="connsiteX8" fmla="*/ 6121241 w 7097325"/>
              <a:gd name="connsiteY8" fmla="*/ 368488 h 3960440"/>
              <a:gd name="connsiteX9" fmla="*/ 6370863 w 7097325"/>
              <a:gd name="connsiteY9" fmla="*/ 432573 h 3960440"/>
              <a:gd name="connsiteX10" fmla="*/ 6854104 w 7097325"/>
              <a:gd name="connsiteY10" fmla="*/ 628031 h 3960440"/>
              <a:gd name="connsiteX11" fmla="*/ 6966114 w 7097325"/>
              <a:gd name="connsiteY11" fmla="*/ 711342 h 3960440"/>
              <a:gd name="connsiteX12" fmla="*/ 7087724 w 7097325"/>
              <a:gd name="connsiteY12" fmla="*/ 980498 h 3960440"/>
              <a:gd name="connsiteX13" fmla="*/ 7020519 w 7097325"/>
              <a:gd name="connsiteY13" fmla="*/ 1541240 h 3960440"/>
              <a:gd name="connsiteX14" fmla="*/ 6646086 w 7097325"/>
              <a:gd name="connsiteY14" fmla="*/ 2739625 h 3960440"/>
              <a:gd name="connsiteX15" fmla="*/ 6159644 w 7097325"/>
              <a:gd name="connsiteY15" fmla="*/ 3934806 h 3960440"/>
              <a:gd name="connsiteX16" fmla="*/ 6143368 w 7097325"/>
              <a:gd name="connsiteY16" fmla="*/ 3957236 h 3960440"/>
              <a:gd name="connsiteX17" fmla="*/ 4914737 w 7097325"/>
              <a:gd name="connsiteY17" fmla="*/ 3954032 h 3960440"/>
              <a:gd name="connsiteX18" fmla="*/ 0 w 7097325"/>
              <a:gd name="connsiteY18" fmla="*/ 3957236 h 3960440"/>
              <a:gd name="connsiteX19" fmla="*/ 1 w 7097325"/>
              <a:gd name="connsiteY19" fmla="*/ 3928987 h 3960440"/>
              <a:gd name="connsiteX20" fmla="*/ 1 w 7097325"/>
              <a:gd name="connsiteY20" fmla="*/ 22408 h 3960440"/>
              <a:gd name="connsiteX21" fmla="*/ 635968 w 7097325"/>
              <a:gd name="connsiteY21" fmla="*/ 6409 h 3960440"/>
              <a:gd name="connsiteX22" fmla="*/ 1336829 w 7097325"/>
              <a:gd name="connsiteY22" fmla="*/ 0 h 3960440"/>
              <a:gd name="connsiteX0" fmla="*/ 1336829 w 7097325"/>
              <a:gd name="connsiteY0" fmla="*/ 0 h 3961552"/>
              <a:gd name="connsiteX1" fmla="*/ 2037689 w 7097325"/>
              <a:gd name="connsiteY1" fmla="*/ 3205 h 3961552"/>
              <a:gd name="connsiteX2" fmla="*/ 2370518 w 7097325"/>
              <a:gd name="connsiteY2" fmla="*/ 9613 h 3961552"/>
              <a:gd name="connsiteX3" fmla="*/ 3000972 w 7097325"/>
              <a:gd name="connsiteY3" fmla="*/ 28839 h 3961552"/>
              <a:gd name="connsiteX4" fmla="*/ 3535418 w 7097325"/>
              <a:gd name="connsiteY4" fmla="*/ 54472 h 3961552"/>
              <a:gd name="connsiteX5" fmla="*/ 4290683 w 7097325"/>
              <a:gd name="connsiteY5" fmla="*/ 105741 h 3961552"/>
              <a:gd name="connsiteX6" fmla="*/ 4994744 w 7097325"/>
              <a:gd name="connsiteY6" fmla="*/ 176234 h 3961552"/>
              <a:gd name="connsiteX7" fmla="*/ 5890821 w 7097325"/>
              <a:gd name="connsiteY7" fmla="*/ 317220 h 3961552"/>
              <a:gd name="connsiteX8" fmla="*/ 6121241 w 7097325"/>
              <a:gd name="connsiteY8" fmla="*/ 368488 h 3961552"/>
              <a:gd name="connsiteX9" fmla="*/ 6370863 w 7097325"/>
              <a:gd name="connsiteY9" fmla="*/ 432573 h 3961552"/>
              <a:gd name="connsiteX10" fmla="*/ 6854104 w 7097325"/>
              <a:gd name="connsiteY10" fmla="*/ 628031 h 3961552"/>
              <a:gd name="connsiteX11" fmla="*/ 6966114 w 7097325"/>
              <a:gd name="connsiteY11" fmla="*/ 711342 h 3961552"/>
              <a:gd name="connsiteX12" fmla="*/ 7087724 w 7097325"/>
              <a:gd name="connsiteY12" fmla="*/ 980498 h 3961552"/>
              <a:gd name="connsiteX13" fmla="*/ 7020519 w 7097325"/>
              <a:gd name="connsiteY13" fmla="*/ 1541240 h 3961552"/>
              <a:gd name="connsiteX14" fmla="*/ 6646086 w 7097325"/>
              <a:gd name="connsiteY14" fmla="*/ 2739625 h 3961552"/>
              <a:gd name="connsiteX15" fmla="*/ 6159644 w 7097325"/>
              <a:gd name="connsiteY15" fmla="*/ 3934806 h 3961552"/>
              <a:gd name="connsiteX16" fmla="*/ 6143368 w 7097325"/>
              <a:gd name="connsiteY16" fmla="*/ 3957236 h 3961552"/>
              <a:gd name="connsiteX17" fmla="*/ 4936320 w 7097325"/>
              <a:gd name="connsiteY17" fmla="*/ 3957236 h 3961552"/>
              <a:gd name="connsiteX18" fmla="*/ 0 w 7097325"/>
              <a:gd name="connsiteY18" fmla="*/ 3957236 h 3961552"/>
              <a:gd name="connsiteX19" fmla="*/ 1 w 7097325"/>
              <a:gd name="connsiteY19" fmla="*/ 3928987 h 3961552"/>
              <a:gd name="connsiteX20" fmla="*/ 1 w 7097325"/>
              <a:gd name="connsiteY20" fmla="*/ 22408 h 3961552"/>
              <a:gd name="connsiteX21" fmla="*/ 635968 w 7097325"/>
              <a:gd name="connsiteY21" fmla="*/ 6409 h 3961552"/>
              <a:gd name="connsiteX22" fmla="*/ 1336829 w 7097325"/>
              <a:gd name="connsiteY22" fmla="*/ 0 h 3961552"/>
              <a:gd name="connsiteX0" fmla="*/ 1336829 w 7097325"/>
              <a:gd name="connsiteY0" fmla="*/ 0 h 3965868"/>
              <a:gd name="connsiteX1" fmla="*/ 2037689 w 7097325"/>
              <a:gd name="connsiteY1" fmla="*/ 3205 h 3965868"/>
              <a:gd name="connsiteX2" fmla="*/ 2370518 w 7097325"/>
              <a:gd name="connsiteY2" fmla="*/ 9613 h 3965868"/>
              <a:gd name="connsiteX3" fmla="*/ 3000972 w 7097325"/>
              <a:gd name="connsiteY3" fmla="*/ 28839 h 3965868"/>
              <a:gd name="connsiteX4" fmla="*/ 3535418 w 7097325"/>
              <a:gd name="connsiteY4" fmla="*/ 54472 h 3965868"/>
              <a:gd name="connsiteX5" fmla="*/ 4290683 w 7097325"/>
              <a:gd name="connsiteY5" fmla="*/ 105741 h 3965868"/>
              <a:gd name="connsiteX6" fmla="*/ 4994744 w 7097325"/>
              <a:gd name="connsiteY6" fmla="*/ 176234 h 3965868"/>
              <a:gd name="connsiteX7" fmla="*/ 5890821 w 7097325"/>
              <a:gd name="connsiteY7" fmla="*/ 317220 h 3965868"/>
              <a:gd name="connsiteX8" fmla="*/ 6121241 w 7097325"/>
              <a:gd name="connsiteY8" fmla="*/ 368488 h 3965868"/>
              <a:gd name="connsiteX9" fmla="*/ 6370863 w 7097325"/>
              <a:gd name="connsiteY9" fmla="*/ 432573 h 3965868"/>
              <a:gd name="connsiteX10" fmla="*/ 6854104 w 7097325"/>
              <a:gd name="connsiteY10" fmla="*/ 628031 h 3965868"/>
              <a:gd name="connsiteX11" fmla="*/ 6966114 w 7097325"/>
              <a:gd name="connsiteY11" fmla="*/ 711342 h 3965868"/>
              <a:gd name="connsiteX12" fmla="*/ 7087724 w 7097325"/>
              <a:gd name="connsiteY12" fmla="*/ 980498 h 3965868"/>
              <a:gd name="connsiteX13" fmla="*/ 7020519 w 7097325"/>
              <a:gd name="connsiteY13" fmla="*/ 1541240 h 3965868"/>
              <a:gd name="connsiteX14" fmla="*/ 6646086 w 7097325"/>
              <a:gd name="connsiteY14" fmla="*/ 2739625 h 3965868"/>
              <a:gd name="connsiteX15" fmla="*/ 6159644 w 7097325"/>
              <a:gd name="connsiteY15" fmla="*/ 3934806 h 3965868"/>
              <a:gd name="connsiteX16" fmla="*/ 6143368 w 7097325"/>
              <a:gd name="connsiteY16" fmla="*/ 3957236 h 3965868"/>
              <a:gd name="connsiteX17" fmla="*/ 4936320 w 7097325"/>
              <a:gd name="connsiteY17" fmla="*/ 3957236 h 3965868"/>
              <a:gd name="connsiteX18" fmla="*/ 0 w 7097325"/>
              <a:gd name="connsiteY18" fmla="*/ 3957236 h 3965868"/>
              <a:gd name="connsiteX19" fmla="*/ 1 w 7097325"/>
              <a:gd name="connsiteY19" fmla="*/ 3928987 h 3965868"/>
              <a:gd name="connsiteX20" fmla="*/ 1 w 7097325"/>
              <a:gd name="connsiteY20" fmla="*/ 22408 h 3965868"/>
              <a:gd name="connsiteX21" fmla="*/ 635968 w 7097325"/>
              <a:gd name="connsiteY21" fmla="*/ 6409 h 3965868"/>
              <a:gd name="connsiteX22" fmla="*/ 1336829 w 7097325"/>
              <a:gd name="connsiteY22" fmla="*/ 0 h 396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97325" h="3965868">
                <a:moveTo>
                  <a:pt x="1336829" y="0"/>
                </a:moveTo>
                <a:lnTo>
                  <a:pt x="2037689" y="3205"/>
                </a:lnTo>
                <a:lnTo>
                  <a:pt x="2370518" y="9613"/>
                </a:lnTo>
                <a:lnTo>
                  <a:pt x="3000972" y="28839"/>
                </a:lnTo>
                <a:cubicBezTo>
                  <a:pt x="3180188" y="35247"/>
                  <a:pt x="3356203" y="44860"/>
                  <a:pt x="3535418" y="54472"/>
                </a:cubicBezTo>
                <a:lnTo>
                  <a:pt x="4290683" y="105741"/>
                </a:lnTo>
                <a:cubicBezTo>
                  <a:pt x="4527504" y="124966"/>
                  <a:pt x="4761124" y="147395"/>
                  <a:pt x="4994744" y="176234"/>
                </a:cubicBezTo>
                <a:cubicBezTo>
                  <a:pt x="5295570" y="211480"/>
                  <a:pt x="5593196" y="256340"/>
                  <a:pt x="5890821" y="317220"/>
                </a:cubicBezTo>
                <a:cubicBezTo>
                  <a:pt x="5967628" y="333242"/>
                  <a:pt x="6044434" y="349262"/>
                  <a:pt x="6121241" y="368488"/>
                </a:cubicBezTo>
                <a:cubicBezTo>
                  <a:pt x="6207649" y="381305"/>
                  <a:pt x="6287655" y="406939"/>
                  <a:pt x="6370863" y="432573"/>
                </a:cubicBezTo>
                <a:cubicBezTo>
                  <a:pt x="6537277" y="480636"/>
                  <a:pt x="6703691" y="538313"/>
                  <a:pt x="6854104" y="628031"/>
                </a:cubicBezTo>
                <a:cubicBezTo>
                  <a:pt x="6892508" y="653665"/>
                  <a:pt x="6930911" y="679299"/>
                  <a:pt x="6966114" y="711342"/>
                </a:cubicBezTo>
                <a:cubicBezTo>
                  <a:pt x="7049321" y="781835"/>
                  <a:pt x="7084524" y="874758"/>
                  <a:pt x="7087724" y="980498"/>
                </a:cubicBezTo>
                <a:cubicBezTo>
                  <a:pt x="7097325" y="1169548"/>
                  <a:pt x="7065322" y="1355394"/>
                  <a:pt x="7020519" y="1541240"/>
                </a:cubicBezTo>
                <a:cubicBezTo>
                  <a:pt x="6927711" y="1951382"/>
                  <a:pt x="6790099" y="2345504"/>
                  <a:pt x="6646086" y="2739625"/>
                </a:cubicBezTo>
                <a:cubicBezTo>
                  <a:pt x="6495673" y="3143359"/>
                  <a:pt x="6329259" y="3540685"/>
                  <a:pt x="6159644" y="3934806"/>
                </a:cubicBezTo>
                <a:cubicBezTo>
                  <a:pt x="6156444" y="3941215"/>
                  <a:pt x="6146568" y="3950827"/>
                  <a:pt x="6143368" y="3957236"/>
                </a:cubicBezTo>
                <a:cubicBezTo>
                  <a:pt x="5935884" y="3960440"/>
                  <a:pt x="6020046" y="3965868"/>
                  <a:pt x="4936320" y="3957236"/>
                </a:cubicBezTo>
                <a:lnTo>
                  <a:pt x="0" y="3957236"/>
                </a:lnTo>
                <a:cubicBezTo>
                  <a:pt x="0" y="3947820"/>
                  <a:pt x="1" y="3938403"/>
                  <a:pt x="1" y="3928987"/>
                </a:cubicBezTo>
                <a:lnTo>
                  <a:pt x="1" y="22408"/>
                </a:lnTo>
                <a:lnTo>
                  <a:pt x="635968" y="6409"/>
                </a:lnTo>
                <a:cubicBezTo>
                  <a:pt x="869588" y="1603"/>
                  <a:pt x="1103208" y="0"/>
                  <a:pt x="1336829" y="0"/>
                </a:cubicBezTo>
                <a:close/>
              </a:path>
            </a:pathLst>
          </a:custGeom>
          <a:solidFill>
            <a:schemeClr val="bg2"/>
          </a:solidFill>
        </p:spPr>
        <p:txBody>
          <a:bodyPr wrap="square" lIns="504000" tIns="720000" rIns="468000">
            <a:noAutofit/>
          </a:bodyPr>
          <a:lstStyle>
            <a:lvl1pPr>
              <a:defRPr sz="4000" baseline="0">
                <a:solidFill>
                  <a:schemeClr val="bg1"/>
                </a:solidFill>
              </a:defRPr>
            </a:lvl1pPr>
          </a:lstStyle>
          <a:p>
            <a:r>
              <a:rPr lang="de-DE"/>
              <a:t>Optional: </a:t>
            </a:r>
            <a:br>
              <a:rPr lang="de-DE"/>
            </a:br>
            <a:r>
              <a:rPr lang="de-DE"/>
              <a:t>Finale Botschaft einfügen</a:t>
            </a:r>
          </a:p>
        </p:txBody>
      </p:sp>
      <p:sp>
        <p:nvSpPr>
          <p:cNvPr id="7" name="Rechteck 6"/>
          <p:cNvSpPr/>
          <p:nvPr userDrawn="1"/>
        </p:nvSpPr>
        <p:spPr bwMode="gray">
          <a:xfrm>
            <a:off x="407368" y="980728"/>
            <a:ext cx="5256584" cy="1080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6600">
                <a:solidFill>
                  <a:schemeClr val="bg2"/>
                </a:solidFill>
              </a:rPr>
              <a:t>Vielen Dank!</a:t>
            </a:r>
          </a:p>
        </p:txBody>
      </p:sp>
      <p:cxnSp>
        <p:nvCxnSpPr>
          <p:cNvPr id="19"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hteck 1"/>
          <p:cNvSpPr/>
          <p:nvPr userDrawn="1"/>
        </p:nvSpPr>
        <p:spPr>
          <a:xfrm>
            <a:off x="8274942" y="5147834"/>
            <a:ext cx="3917058" cy="1710167"/>
          </a:xfrm>
          <a:custGeom>
            <a:avLst/>
            <a:gdLst/>
            <a:ahLst/>
            <a:cxnLst/>
            <a:rect l="l" t="t" r="r" b="b"/>
            <a:pathLst>
              <a:path w="3917058" h="1710167">
                <a:moveTo>
                  <a:pt x="3917058" y="0"/>
                </a:moveTo>
                <a:lnTo>
                  <a:pt x="3917058" y="1710167"/>
                </a:lnTo>
                <a:lnTo>
                  <a:pt x="840910" y="1710167"/>
                </a:lnTo>
                <a:lnTo>
                  <a:pt x="727105" y="1610865"/>
                </a:lnTo>
                <a:cubicBezTo>
                  <a:pt x="222631" y="1158465"/>
                  <a:pt x="-83749" y="791517"/>
                  <a:pt x="20207" y="655140"/>
                </a:cubicBezTo>
                <a:cubicBezTo>
                  <a:pt x="173335" y="462296"/>
                  <a:pt x="2343532" y="140010"/>
                  <a:pt x="391705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de-DE" sz="1600" err="1"/>
          </a:p>
        </p:txBody>
      </p:sp>
      <p:pic>
        <p:nvPicPr>
          <p:cNvPr id="18" name="Picture 66" descr="Z:\Kunden\Hermes_V2007\Janas Mastervorlage April 2016\PDFs\Hermes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4483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bschlussfolie ohne Botschaft">
    <p:spTree>
      <p:nvGrpSpPr>
        <p:cNvPr id="1" name=""/>
        <p:cNvGrpSpPr/>
        <p:nvPr/>
      </p:nvGrpSpPr>
      <p:grpSpPr>
        <a:xfrm>
          <a:off x="0" y="0"/>
          <a:ext cx="0" cy="0"/>
          <a:chOff x="0" y="0"/>
          <a:chExt cx="0" cy="0"/>
        </a:xfrm>
      </p:grpSpPr>
      <p:sp>
        <p:nvSpPr>
          <p:cNvPr id="7" name="Freihandform 6"/>
          <p:cNvSpPr txBox="1">
            <a:spLocks/>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vert="horz" wrap="square" lIns="504000" tIns="2340000" rIns="468000" bIns="2340000" rtlCol="0" anchor="t">
            <a:noAutofit/>
          </a:bodyPr>
          <a:lstStyle>
            <a:lvl1pPr algn="l" defTabSz="914400" rtl="0" eaLnBrk="1" latinLnBrk="0" hangingPunct="1">
              <a:lnSpc>
                <a:spcPct val="100000"/>
              </a:lnSpc>
              <a:spcBef>
                <a:spcPct val="0"/>
              </a:spcBef>
              <a:buNone/>
              <a:defRPr sz="4000" kern="1200">
                <a:solidFill>
                  <a:schemeClr val="bg1"/>
                </a:solidFill>
                <a:latin typeface="+mj-lt"/>
                <a:ea typeface="+mj-ea"/>
                <a:cs typeface="+mj-cs"/>
              </a:defRPr>
            </a:lvl1pPr>
          </a:lstStyle>
          <a:p>
            <a:r>
              <a:rPr lang="de-DE" sz="6600"/>
              <a:t>Vielen</a:t>
            </a:r>
            <a:r>
              <a:rPr lang="de-DE" sz="6600" baseline="0"/>
              <a:t> Dank!</a:t>
            </a:r>
            <a:endParaRPr lang="de-DE" sz="6600"/>
          </a:p>
        </p:txBody>
      </p:sp>
      <p:cxnSp>
        <p:nvCxnSpPr>
          <p:cNvPr id="18"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hteck 1"/>
          <p:cNvSpPr/>
          <p:nvPr userDrawn="1"/>
        </p:nvSpPr>
        <p:spPr>
          <a:xfrm>
            <a:off x="8274942" y="5147834"/>
            <a:ext cx="3917058" cy="1710167"/>
          </a:xfrm>
          <a:custGeom>
            <a:avLst/>
            <a:gdLst/>
            <a:ahLst/>
            <a:cxnLst/>
            <a:rect l="l" t="t" r="r" b="b"/>
            <a:pathLst>
              <a:path w="3917058" h="1710167">
                <a:moveTo>
                  <a:pt x="3917058" y="0"/>
                </a:moveTo>
                <a:lnTo>
                  <a:pt x="3917058" y="1710167"/>
                </a:lnTo>
                <a:lnTo>
                  <a:pt x="840910" y="1710167"/>
                </a:lnTo>
                <a:lnTo>
                  <a:pt x="727105" y="1610865"/>
                </a:lnTo>
                <a:cubicBezTo>
                  <a:pt x="222631" y="1158465"/>
                  <a:pt x="-83749" y="791517"/>
                  <a:pt x="20207" y="655140"/>
                </a:cubicBezTo>
                <a:cubicBezTo>
                  <a:pt x="173335" y="462296"/>
                  <a:pt x="2343532" y="140010"/>
                  <a:pt x="391705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de-DE" sz="1600" err="1"/>
          </a:p>
        </p:txBody>
      </p:sp>
      <p:pic>
        <p:nvPicPr>
          <p:cNvPr id="17" name="Picture 66" descr="Z:\Kunden\Hermes_V2007\Janas Mastervorlage April 2016\PDFs\Hermes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70482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Titelfolie: Bild + großer Layer 01">
    <p:bg>
      <p:bgPr>
        <a:solidFill>
          <a:schemeClr val="bg1"/>
        </a:solidFill>
        <a:effectLst/>
      </p:bgPr>
    </p:bg>
    <p:spTree>
      <p:nvGrpSpPr>
        <p:cNvPr id="1" name=""/>
        <p:cNvGrpSpPr/>
        <p:nvPr/>
      </p:nvGrpSpPr>
      <p:grpSpPr>
        <a:xfrm>
          <a:off x="0" y="0"/>
          <a:ext cx="0" cy="0"/>
          <a:chOff x="0" y="0"/>
          <a:chExt cx="0" cy="0"/>
        </a:xfrm>
      </p:grpSpPr>
      <p:sp>
        <p:nvSpPr>
          <p:cNvPr id="27" name="Bildplatzhalter 26"/>
          <p:cNvSpPr>
            <a:spLocks noGrp="1"/>
          </p:cNvSpPr>
          <p:nvPr>
            <p:ph type="pic" sz="quarter" idx="13"/>
          </p:nvPr>
        </p:nvSpPr>
        <p:spPr>
          <a:xfrm>
            <a:off x="0" y="0"/>
            <a:ext cx="12192000" cy="6858000"/>
          </a:xfrm>
          <a:prstGeom prst="rect">
            <a:avLst/>
          </a:prstGeom>
          <a:solidFill>
            <a:srgbClr val="E7E7E8"/>
          </a:solidFill>
        </p:spPr>
        <p:txBody>
          <a:bodyPr wrap="square">
            <a:noAutofit/>
          </a:bodyPr>
          <a:lstStyle/>
          <a:p>
            <a:r>
              <a:rPr lang="de-DE"/>
              <a:t>Bild durch Klicken auf Symbol hinzufügen</a:t>
            </a:r>
          </a:p>
        </p:txBody>
      </p:sp>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037397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Folie" r:id="rId4" imgW="270" imgH="270" progId="TCLayout.ActiveDocument.1">
                  <p:embed/>
                </p:oleObj>
              </mc:Choice>
              <mc:Fallback>
                <p:oleObj name="think-cell Folie" r:id="rId4" imgW="270" imgH="270" progId="TCLayout.ActiveDocument.1">
                  <p:embed/>
                  <p:pic>
                    <p:nvPicPr>
                      <p:cNvPr id="12" name="Objek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el 13"/>
          <p:cNvSpPr>
            <a:spLocks noGrp="1"/>
          </p:cNvSpPr>
          <p:nvPr>
            <p:ph type="ctrTitle" hasCustomPrompt="1"/>
          </p:nvPr>
        </p:nvSpPr>
        <p:spPr bwMode="gray">
          <a:xfrm>
            <a:off x="1" y="2381"/>
            <a:ext cx="7330060" cy="6863579"/>
          </a:xfrm>
          <a:custGeom>
            <a:avLst/>
            <a:gdLst>
              <a:gd name="connsiteX0" fmla="*/ 0 w 7328853"/>
              <a:gd name="connsiteY0" fmla="*/ 0 h 6858000"/>
              <a:gd name="connsiteX1" fmla="*/ 38666 w 7328853"/>
              <a:gd name="connsiteY1" fmla="*/ 0 h 6858000"/>
              <a:gd name="connsiteX2" fmla="*/ 155340 w 7328853"/>
              <a:gd name="connsiteY2" fmla="*/ 0 h 6858000"/>
              <a:gd name="connsiteX3" fmla="*/ 155340 w 7328853"/>
              <a:gd name="connsiteY3" fmla="*/ 32 h 6858000"/>
              <a:gd name="connsiteX4" fmla="*/ 4582309 w 7328853"/>
              <a:gd name="connsiteY4" fmla="*/ 1240 h 6858000"/>
              <a:gd name="connsiteX5" fmla="*/ 4690137 w 7328853"/>
              <a:gd name="connsiteY5" fmla="*/ 1240 h 6858000"/>
              <a:gd name="connsiteX6" fmla="*/ 4759543 w 7328853"/>
              <a:gd name="connsiteY6" fmla="*/ 1240 h 6858000"/>
              <a:gd name="connsiteX7" fmla="*/ 4823992 w 7328853"/>
              <a:gd name="connsiteY7" fmla="*/ 1240 h 6858000"/>
              <a:gd name="connsiteX8" fmla="*/ 4956608 w 7328853"/>
              <a:gd name="connsiteY8" fmla="*/ 1240 h 6858000"/>
              <a:gd name="connsiteX9" fmla="*/ 5070633 w 7328853"/>
              <a:gd name="connsiteY9" fmla="*/ 1240 h 6858000"/>
              <a:gd name="connsiteX10" fmla="*/ 5184658 w 7328853"/>
              <a:gd name="connsiteY10" fmla="*/ 1240 h 6858000"/>
              <a:gd name="connsiteX11" fmla="*/ 5261501 w 7328853"/>
              <a:gd name="connsiteY11" fmla="*/ 1240 h 6858000"/>
              <a:gd name="connsiteX12" fmla="*/ 5361892 w 7328853"/>
              <a:gd name="connsiteY12" fmla="*/ 1240 h 6858000"/>
              <a:gd name="connsiteX13" fmla="*/ 5406511 w 7328853"/>
              <a:gd name="connsiteY13" fmla="*/ 1240 h 6858000"/>
              <a:gd name="connsiteX14" fmla="*/ 5508141 w 7328853"/>
              <a:gd name="connsiteY14" fmla="*/ 1240 h 6858000"/>
              <a:gd name="connsiteX15" fmla="*/ 5756021 w 7328853"/>
              <a:gd name="connsiteY15" fmla="*/ 1240 h 6858000"/>
              <a:gd name="connsiteX16" fmla="*/ 5894834 w 7328853"/>
              <a:gd name="connsiteY16" fmla="*/ 1240 h 6858000"/>
              <a:gd name="connsiteX17" fmla="*/ 6085702 w 7328853"/>
              <a:gd name="connsiteY17" fmla="*/ 39670 h 6858000"/>
              <a:gd name="connsiteX18" fmla="*/ 6181136 w 7328853"/>
              <a:gd name="connsiteY18" fmla="*/ 59505 h 6858000"/>
              <a:gd name="connsiteX19" fmla="*/ 6484789 w 7328853"/>
              <a:gd name="connsiteY19" fmla="*/ 128928 h 6858000"/>
              <a:gd name="connsiteX20" fmla="*/ 6606250 w 7328853"/>
              <a:gd name="connsiteY20" fmla="*/ 163640 h 6858000"/>
              <a:gd name="connsiteX21" fmla="*/ 6877679 w 7328853"/>
              <a:gd name="connsiteY21" fmla="*/ 256617 h 6858000"/>
              <a:gd name="connsiteX22" fmla="*/ 7167699 w 7328853"/>
              <a:gd name="connsiteY22" fmla="*/ 409100 h 6858000"/>
              <a:gd name="connsiteX23" fmla="*/ 7328821 w 7328853"/>
              <a:gd name="connsiteY23" fmla="*/ 732661 h 6858000"/>
              <a:gd name="connsiteX24" fmla="*/ 7249499 w 7328853"/>
              <a:gd name="connsiteY24" fmla="*/ 1315318 h 6858000"/>
              <a:gd name="connsiteX25" fmla="*/ 6824385 w 7328853"/>
              <a:gd name="connsiteY25" fmla="*/ 2616999 h 6858000"/>
              <a:gd name="connsiteX26" fmla="*/ 5899792 w 7328853"/>
              <a:gd name="connsiteY26" fmla="*/ 4748037 h 6858000"/>
              <a:gd name="connsiteX27" fmla="*/ 4868611 w 7328853"/>
              <a:gd name="connsiteY27" fmla="*/ 6824528 h 6858000"/>
              <a:gd name="connsiteX28" fmla="*/ 4822753 w 7328853"/>
              <a:gd name="connsiteY28" fmla="*/ 6851802 h 6858000"/>
              <a:gd name="connsiteX29" fmla="*/ 4525297 w 7328853"/>
              <a:gd name="connsiteY29" fmla="*/ 6850562 h 6858000"/>
              <a:gd name="connsiteX30" fmla="*/ 4372850 w 7328853"/>
              <a:gd name="connsiteY30" fmla="*/ 6850562 h 6858000"/>
              <a:gd name="connsiteX31" fmla="*/ 4322035 w 7328853"/>
              <a:gd name="connsiteY31" fmla="*/ 6850562 h 6858000"/>
              <a:gd name="connsiteX32" fmla="*/ 4227841 w 7328853"/>
              <a:gd name="connsiteY32" fmla="*/ 6850562 h 6858000"/>
              <a:gd name="connsiteX33" fmla="*/ 4144801 w 7328853"/>
              <a:gd name="connsiteY33" fmla="*/ 6850562 h 6858000"/>
              <a:gd name="connsiteX34" fmla="*/ 4075394 w 7328853"/>
              <a:gd name="connsiteY34" fmla="*/ 6850562 h 6858000"/>
              <a:gd name="connsiteX35" fmla="*/ 4036973 w 7328853"/>
              <a:gd name="connsiteY35" fmla="*/ 6850562 h 6858000"/>
              <a:gd name="connsiteX36" fmla="*/ 3967566 w 7328853"/>
              <a:gd name="connsiteY36" fmla="*/ 6850562 h 6858000"/>
              <a:gd name="connsiteX37" fmla="*/ 3859738 w 7328853"/>
              <a:gd name="connsiteY37" fmla="*/ 6850562 h 6858000"/>
              <a:gd name="connsiteX38" fmla="*/ 3782896 w 7328853"/>
              <a:gd name="connsiteY38" fmla="*/ 6850562 h 6858000"/>
              <a:gd name="connsiteX39" fmla="*/ 3682504 w 7328853"/>
              <a:gd name="connsiteY39" fmla="*/ 6850562 h 6858000"/>
              <a:gd name="connsiteX40" fmla="*/ 3564761 w 7328853"/>
              <a:gd name="connsiteY40" fmla="*/ 6850562 h 6858000"/>
              <a:gd name="connsiteX41" fmla="*/ 3559803 w 7328853"/>
              <a:gd name="connsiteY41" fmla="*/ 6854281 h 6858000"/>
              <a:gd name="connsiteX42" fmla="*/ 3523861 w 7328853"/>
              <a:gd name="connsiteY42" fmla="*/ 6854281 h 6858000"/>
              <a:gd name="connsiteX43" fmla="*/ 155340 w 7328853"/>
              <a:gd name="connsiteY43" fmla="*/ 6854281 h 6858000"/>
              <a:gd name="connsiteX44" fmla="*/ 155340 w 7328853"/>
              <a:gd name="connsiteY44" fmla="*/ 6858000 h 6858000"/>
              <a:gd name="connsiteX45" fmla="*/ 0 w 7328853"/>
              <a:gd name="connsiteY45" fmla="*/ 685800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22753 w 7330060"/>
              <a:gd name="connsiteY28" fmla="*/ 6851802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799855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155340 w 7330060"/>
              <a:gd name="connsiteY43" fmla="*/ 6858000 h 6860284"/>
              <a:gd name="connsiteX44" fmla="*/ 0 w 7330060"/>
              <a:gd name="connsiteY44" fmla="*/ 6858000 h 6860284"/>
              <a:gd name="connsiteX45" fmla="*/ 0 w 7330060"/>
              <a:gd name="connsiteY4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55340 w 7330060"/>
              <a:gd name="connsiteY42" fmla="*/ 6854281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682504 w 7330060"/>
              <a:gd name="connsiteY39" fmla="*/ 6850562 h 6860284"/>
              <a:gd name="connsiteX40" fmla="*/ 3564761 w 7330060"/>
              <a:gd name="connsiteY40" fmla="*/ 6850562 h 6860284"/>
              <a:gd name="connsiteX41" fmla="*/ 3523861 w 7330060"/>
              <a:gd name="connsiteY41" fmla="*/ 6854281 h 6860284"/>
              <a:gd name="connsiteX42" fmla="*/ 191343 w 7330060"/>
              <a:gd name="connsiteY42" fmla="*/ 6858000 h 6860284"/>
              <a:gd name="connsiteX43" fmla="*/ 0 w 7330060"/>
              <a:gd name="connsiteY43" fmla="*/ 6858000 h 6860284"/>
              <a:gd name="connsiteX44" fmla="*/ 0 w 7330060"/>
              <a:gd name="connsiteY4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64761 w 7330060"/>
              <a:gd name="connsiteY39" fmla="*/ 6850562 h 6860284"/>
              <a:gd name="connsiteX40" fmla="*/ 3523861 w 7330060"/>
              <a:gd name="connsiteY40" fmla="*/ 6854281 h 6860284"/>
              <a:gd name="connsiteX41" fmla="*/ 191343 w 7330060"/>
              <a:gd name="connsiteY41" fmla="*/ 6858000 h 6860284"/>
              <a:gd name="connsiteX42" fmla="*/ 0 w 7330060"/>
              <a:gd name="connsiteY42" fmla="*/ 6858000 h 6860284"/>
              <a:gd name="connsiteX43" fmla="*/ 0 w 7330060"/>
              <a:gd name="connsiteY43"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23861 w 7330060"/>
              <a:gd name="connsiteY39" fmla="*/ 6854281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782896 w 7330060"/>
              <a:gd name="connsiteY38" fmla="*/ 6850562 h 6860284"/>
              <a:gd name="connsiteX39" fmla="*/ 3503711 w 7330060"/>
              <a:gd name="connsiteY39" fmla="*/ 6858000 h 6860284"/>
              <a:gd name="connsiteX40" fmla="*/ 191343 w 7330060"/>
              <a:gd name="connsiteY40" fmla="*/ 6858000 h 6860284"/>
              <a:gd name="connsiteX41" fmla="*/ 0 w 7330060"/>
              <a:gd name="connsiteY41" fmla="*/ 6858000 h 6860284"/>
              <a:gd name="connsiteX42" fmla="*/ 0 w 7330060"/>
              <a:gd name="connsiteY42"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859738 w 7330060"/>
              <a:gd name="connsiteY37" fmla="*/ 6850562 h 6860284"/>
              <a:gd name="connsiteX38" fmla="*/ 3503711 w 7330060"/>
              <a:gd name="connsiteY38" fmla="*/ 6858000 h 6860284"/>
              <a:gd name="connsiteX39" fmla="*/ 191343 w 7330060"/>
              <a:gd name="connsiteY39" fmla="*/ 6858000 h 6860284"/>
              <a:gd name="connsiteX40" fmla="*/ 0 w 7330060"/>
              <a:gd name="connsiteY40" fmla="*/ 6858000 h 6860284"/>
              <a:gd name="connsiteX41" fmla="*/ 0 w 7330060"/>
              <a:gd name="connsiteY41"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967566 w 7330060"/>
              <a:gd name="connsiteY36" fmla="*/ 6850562 h 6860284"/>
              <a:gd name="connsiteX37" fmla="*/ 3503711 w 7330060"/>
              <a:gd name="connsiteY37" fmla="*/ 6858000 h 6860284"/>
              <a:gd name="connsiteX38" fmla="*/ 191343 w 7330060"/>
              <a:gd name="connsiteY38" fmla="*/ 6858000 h 6860284"/>
              <a:gd name="connsiteX39" fmla="*/ 0 w 7330060"/>
              <a:gd name="connsiteY39" fmla="*/ 6858000 h 6860284"/>
              <a:gd name="connsiteX40" fmla="*/ 0 w 7330060"/>
              <a:gd name="connsiteY40"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4036973 w 7330060"/>
              <a:gd name="connsiteY35" fmla="*/ 6850562 h 6860284"/>
              <a:gd name="connsiteX36" fmla="*/ 3503711 w 7330060"/>
              <a:gd name="connsiteY36" fmla="*/ 6858000 h 6860284"/>
              <a:gd name="connsiteX37" fmla="*/ 191343 w 7330060"/>
              <a:gd name="connsiteY37" fmla="*/ 6858000 h 6860284"/>
              <a:gd name="connsiteX38" fmla="*/ 0 w 7330060"/>
              <a:gd name="connsiteY38" fmla="*/ 6858000 h 6860284"/>
              <a:gd name="connsiteX39" fmla="*/ 0 w 7330060"/>
              <a:gd name="connsiteY39"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4075394 w 7330060"/>
              <a:gd name="connsiteY34" fmla="*/ 6850562 h 6860284"/>
              <a:gd name="connsiteX35" fmla="*/ 3503711 w 7330060"/>
              <a:gd name="connsiteY35" fmla="*/ 6858000 h 6860284"/>
              <a:gd name="connsiteX36" fmla="*/ 191343 w 7330060"/>
              <a:gd name="connsiteY36" fmla="*/ 6858000 h 6860284"/>
              <a:gd name="connsiteX37" fmla="*/ 0 w 7330060"/>
              <a:gd name="connsiteY37" fmla="*/ 6858000 h 6860284"/>
              <a:gd name="connsiteX38" fmla="*/ 0 w 7330060"/>
              <a:gd name="connsiteY38"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227841 w 7330060"/>
              <a:gd name="connsiteY32" fmla="*/ 6850562 h 6860284"/>
              <a:gd name="connsiteX33" fmla="*/ 4144801 w 7330060"/>
              <a:gd name="connsiteY33" fmla="*/ 6850562 h 6860284"/>
              <a:gd name="connsiteX34" fmla="*/ 3503711 w 7330060"/>
              <a:gd name="connsiteY34" fmla="*/ 6858000 h 6860284"/>
              <a:gd name="connsiteX35" fmla="*/ 191343 w 7330060"/>
              <a:gd name="connsiteY35" fmla="*/ 6858000 h 6860284"/>
              <a:gd name="connsiteX36" fmla="*/ 0 w 7330060"/>
              <a:gd name="connsiteY36" fmla="*/ 6858000 h 6860284"/>
              <a:gd name="connsiteX37" fmla="*/ 0 w 7330060"/>
              <a:gd name="connsiteY37"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4144801 w 7330060"/>
              <a:gd name="connsiteY32" fmla="*/ 6850562 h 6860284"/>
              <a:gd name="connsiteX33" fmla="*/ 3503711 w 7330060"/>
              <a:gd name="connsiteY33" fmla="*/ 6858000 h 6860284"/>
              <a:gd name="connsiteX34" fmla="*/ 191343 w 7330060"/>
              <a:gd name="connsiteY34" fmla="*/ 6858000 h 6860284"/>
              <a:gd name="connsiteX35" fmla="*/ 0 w 7330060"/>
              <a:gd name="connsiteY35" fmla="*/ 6858000 h 6860284"/>
              <a:gd name="connsiteX36" fmla="*/ 0 w 7330060"/>
              <a:gd name="connsiteY36"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4322035 w 7330060"/>
              <a:gd name="connsiteY31" fmla="*/ 6850562 h 6860284"/>
              <a:gd name="connsiteX32" fmla="*/ 3503711 w 7330060"/>
              <a:gd name="connsiteY32" fmla="*/ 6858000 h 6860284"/>
              <a:gd name="connsiteX33" fmla="*/ 191343 w 7330060"/>
              <a:gd name="connsiteY33" fmla="*/ 6858000 h 6860284"/>
              <a:gd name="connsiteX34" fmla="*/ 0 w 7330060"/>
              <a:gd name="connsiteY34" fmla="*/ 6858000 h 6860284"/>
              <a:gd name="connsiteX35" fmla="*/ 0 w 7330060"/>
              <a:gd name="connsiteY35"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4372850 w 7330060"/>
              <a:gd name="connsiteY30" fmla="*/ 6850562 h 6860284"/>
              <a:gd name="connsiteX31" fmla="*/ 3503711 w 7330060"/>
              <a:gd name="connsiteY31" fmla="*/ 6858000 h 6860284"/>
              <a:gd name="connsiteX32" fmla="*/ 191343 w 7330060"/>
              <a:gd name="connsiteY32" fmla="*/ 6858000 h 6860284"/>
              <a:gd name="connsiteX33" fmla="*/ 0 w 7330060"/>
              <a:gd name="connsiteY33" fmla="*/ 6858000 h 6860284"/>
              <a:gd name="connsiteX34" fmla="*/ 0 w 7330060"/>
              <a:gd name="connsiteY34" fmla="*/ 0 h 6860284"/>
              <a:gd name="connsiteX0" fmla="*/ 0 w 7330060"/>
              <a:gd name="connsiteY0" fmla="*/ 0 h 6860284"/>
              <a:gd name="connsiteX1" fmla="*/ 38666 w 7330060"/>
              <a:gd name="connsiteY1" fmla="*/ 0 h 6860284"/>
              <a:gd name="connsiteX2" fmla="*/ 155340 w 7330060"/>
              <a:gd name="connsiteY2" fmla="*/ 0 h 6860284"/>
              <a:gd name="connsiteX3" fmla="*/ 155340 w 7330060"/>
              <a:gd name="connsiteY3" fmla="*/ 32 h 6860284"/>
              <a:gd name="connsiteX4" fmla="*/ 4582309 w 7330060"/>
              <a:gd name="connsiteY4" fmla="*/ 1240 h 6860284"/>
              <a:gd name="connsiteX5" fmla="*/ 4690137 w 7330060"/>
              <a:gd name="connsiteY5" fmla="*/ 1240 h 6860284"/>
              <a:gd name="connsiteX6" fmla="*/ 4759543 w 7330060"/>
              <a:gd name="connsiteY6" fmla="*/ 1240 h 6860284"/>
              <a:gd name="connsiteX7" fmla="*/ 4823992 w 7330060"/>
              <a:gd name="connsiteY7" fmla="*/ 1240 h 6860284"/>
              <a:gd name="connsiteX8" fmla="*/ 4956608 w 7330060"/>
              <a:gd name="connsiteY8" fmla="*/ 1240 h 6860284"/>
              <a:gd name="connsiteX9" fmla="*/ 5070633 w 7330060"/>
              <a:gd name="connsiteY9" fmla="*/ 1240 h 6860284"/>
              <a:gd name="connsiteX10" fmla="*/ 5184658 w 7330060"/>
              <a:gd name="connsiteY10" fmla="*/ 1240 h 6860284"/>
              <a:gd name="connsiteX11" fmla="*/ 5261501 w 7330060"/>
              <a:gd name="connsiteY11" fmla="*/ 1240 h 6860284"/>
              <a:gd name="connsiteX12" fmla="*/ 5361892 w 7330060"/>
              <a:gd name="connsiteY12" fmla="*/ 1240 h 6860284"/>
              <a:gd name="connsiteX13" fmla="*/ 5406511 w 7330060"/>
              <a:gd name="connsiteY13" fmla="*/ 1240 h 6860284"/>
              <a:gd name="connsiteX14" fmla="*/ 5508141 w 7330060"/>
              <a:gd name="connsiteY14" fmla="*/ 1240 h 6860284"/>
              <a:gd name="connsiteX15" fmla="*/ 5756021 w 7330060"/>
              <a:gd name="connsiteY15" fmla="*/ 1240 h 6860284"/>
              <a:gd name="connsiteX16" fmla="*/ 5894834 w 7330060"/>
              <a:gd name="connsiteY16" fmla="*/ 1240 h 6860284"/>
              <a:gd name="connsiteX17" fmla="*/ 6085702 w 7330060"/>
              <a:gd name="connsiteY17" fmla="*/ 39670 h 6860284"/>
              <a:gd name="connsiteX18" fmla="*/ 6181136 w 7330060"/>
              <a:gd name="connsiteY18" fmla="*/ 59505 h 6860284"/>
              <a:gd name="connsiteX19" fmla="*/ 6484789 w 7330060"/>
              <a:gd name="connsiteY19" fmla="*/ 128928 h 6860284"/>
              <a:gd name="connsiteX20" fmla="*/ 6606250 w 7330060"/>
              <a:gd name="connsiteY20" fmla="*/ 163640 h 6860284"/>
              <a:gd name="connsiteX21" fmla="*/ 6877679 w 7330060"/>
              <a:gd name="connsiteY21" fmla="*/ 256617 h 6860284"/>
              <a:gd name="connsiteX22" fmla="*/ 7167699 w 7330060"/>
              <a:gd name="connsiteY22" fmla="*/ 409100 h 6860284"/>
              <a:gd name="connsiteX23" fmla="*/ 7328821 w 7330060"/>
              <a:gd name="connsiteY23" fmla="*/ 732661 h 6860284"/>
              <a:gd name="connsiteX24" fmla="*/ 7249499 w 7330060"/>
              <a:gd name="connsiteY24" fmla="*/ 1315318 h 6860284"/>
              <a:gd name="connsiteX25" fmla="*/ 6824385 w 7330060"/>
              <a:gd name="connsiteY25" fmla="*/ 2616999 h 6860284"/>
              <a:gd name="connsiteX26" fmla="*/ 5899792 w 7330060"/>
              <a:gd name="connsiteY26" fmla="*/ 4748037 h 6860284"/>
              <a:gd name="connsiteX27" fmla="*/ 4868611 w 7330060"/>
              <a:gd name="connsiteY27" fmla="*/ 6824528 h 6860284"/>
              <a:gd name="connsiteX28" fmla="*/ 4799855 w 7330060"/>
              <a:gd name="connsiteY28" fmla="*/ 6858000 h 6860284"/>
              <a:gd name="connsiteX29" fmla="*/ 4525297 w 7330060"/>
              <a:gd name="connsiteY29" fmla="*/ 6850562 h 6860284"/>
              <a:gd name="connsiteX30" fmla="*/ 3503711 w 7330060"/>
              <a:gd name="connsiteY30" fmla="*/ 6858000 h 6860284"/>
              <a:gd name="connsiteX31" fmla="*/ 191343 w 7330060"/>
              <a:gd name="connsiteY31" fmla="*/ 6858000 h 6860284"/>
              <a:gd name="connsiteX32" fmla="*/ 0 w 7330060"/>
              <a:gd name="connsiteY32" fmla="*/ 6858000 h 6860284"/>
              <a:gd name="connsiteX33" fmla="*/ 0 w 7330060"/>
              <a:gd name="connsiteY33" fmla="*/ 0 h 6860284"/>
              <a:gd name="connsiteX0" fmla="*/ 0 w 7330060"/>
              <a:gd name="connsiteY0" fmla="*/ 0 h 6863579"/>
              <a:gd name="connsiteX1" fmla="*/ 38666 w 7330060"/>
              <a:gd name="connsiteY1" fmla="*/ 0 h 6863579"/>
              <a:gd name="connsiteX2" fmla="*/ 155340 w 7330060"/>
              <a:gd name="connsiteY2" fmla="*/ 0 h 6863579"/>
              <a:gd name="connsiteX3" fmla="*/ 155340 w 7330060"/>
              <a:gd name="connsiteY3" fmla="*/ 32 h 6863579"/>
              <a:gd name="connsiteX4" fmla="*/ 4582309 w 7330060"/>
              <a:gd name="connsiteY4" fmla="*/ 1240 h 6863579"/>
              <a:gd name="connsiteX5" fmla="*/ 4690137 w 7330060"/>
              <a:gd name="connsiteY5" fmla="*/ 1240 h 6863579"/>
              <a:gd name="connsiteX6" fmla="*/ 4759543 w 7330060"/>
              <a:gd name="connsiteY6" fmla="*/ 1240 h 6863579"/>
              <a:gd name="connsiteX7" fmla="*/ 4823992 w 7330060"/>
              <a:gd name="connsiteY7" fmla="*/ 1240 h 6863579"/>
              <a:gd name="connsiteX8" fmla="*/ 4956608 w 7330060"/>
              <a:gd name="connsiteY8" fmla="*/ 1240 h 6863579"/>
              <a:gd name="connsiteX9" fmla="*/ 5070633 w 7330060"/>
              <a:gd name="connsiteY9" fmla="*/ 1240 h 6863579"/>
              <a:gd name="connsiteX10" fmla="*/ 5184658 w 7330060"/>
              <a:gd name="connsiteY10" fmla="*/ 1240 h 6863579"/>
              <a:gd name="connsiteX11" fmla="*/ 5261501 w 7330060"/>
              <a:gd name="connsiteY11" fmla="*/ 1240 h 6863579"/>
              <a:gd name="connsiteX12" fmla="*/ 5361892 w 7330060"/>
              <a:gd name="connsiteY12" fmla="*/ 1240 h 6863579"/>
              <a:gd name="connsiteX13" fmla="*/ 5406511 w 7330060"/>
              <a:gd name="connsiteY13" fmla="*/ 1240 h 6863579"/>
              <a:gd name="connsiteX14" fmla="*/ 5508141 w 7330060"/>
              <a:gd name="connsiteY14" fmla="*/ 1240 h 6863579"/>
              <a:gd name="connsiteX15" fmla="*/ 5756021 w 7330060"/>
              <a:gd name="connsiteY15" fmla="*/ 1240 h 6863579"/>
              <a:gd name="connsiteX16" fmla="*/ 5894834 w 7330060"/>
              <a:gd name="connsiteY16" fmla="*/ 1240 h 6863579"/>
              <a:gd name="connsiteX17" fmla="*/ 6085702 w 7330060"/>
              <a:gd name="connsiteY17" fmla="*/ 39670 h 6863579"/>
              <a:gd name="connsiteX18" fmla="*/ 6181136 w 7330060"/>
              <a:gd name="connsiteY18" fmla="*/ 59505 h 6863579"/>
              <a:gd name="connsiteX19" fmla="*/ 6484789 w 7330060"/>
              <a:gd name="connsiteY19" fmla="*/ 128928 h 6863579"/>
              <a:gd name="connsiteX20" fmla="*/ 6606250 w 7330060"/>
              <a:gd name="connsiteY20" fmla="*/ 163640 h 6863579"/>
              <a:gd name="connsiteX21" fmla="*/ 6877679 w 7330060"/>
              <a:gd name="connsiteY21" fmla="*/ 256617 h 6863579"/>
              <a:gd name="connsiteX22" fmla="*/ 7167699 w 7330060"/>
              <a:gd name="connsiteY22" fmla="*/ 409100 h 6863579"/>
              <a:gd name="connsiteX23" fmla="*/ 7328821 w 7330060"/>
              <a:gd name="connsiteY23" fmla="*/ 732661 h 6863579"/>
              <a:gd name="connsiteX24" fmla="*/ 7249499 w 7330060"/>
              <a:gd name="connsiteY24" fmla="*/ 1315318 h 6863579"/>
              <a:gd name="connsiteX25" fmla="*/ 6824385 w 7330060"/>
              <a:gd name="connsiteY25" fmla="*/ 2616999 h 6863579"/>
              <a:gd name="connsiteX26" fmla="*/ 5899792 w 7330060"/>
              <a:gd name="connsiteY26" fmla="*/ 4748037 h 6863579"/>
              <a:gd name="connsiteX27" fmla="*/ 4868611 w 7330060"/>
              <a:gd name="connsiteY27" fmla="*/ 6824528 h 6863579"/>
              <a:gd name="connsiteX28" fmla="*/ 4799855 w 7330060"/>
              <a:gd name="connsiteY28" fmla="*/ 6858000 h 6863579"/>
              <a:gd name="connsiteX29" fmla="*/ 3503711 w 7330060"/>
              <a:gd name="connsiteY29" fmla="*/ 6858000 h 6863579"/>
              <a:gd name="connsiteX30" fmla="*/ 191343 w 7330060"/>
              <a:gd name="connsiteY30" fmla="*/ 6858000 h 6863579"/>
              <a:gd name="connsiteX31" fmla="*/ 0 w 7330060"/>
              <a:gd name="connsiteY31" fmla="*/ 6858000 h 6863579"/>
              <a:gd name="connsiteX32" fmla="*/ 0 w 7330060"/>
              <a:gd name="connsiteY32" fmla="*/ 0 h 686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30060" h="6863579">
                <a:moveTo>
                  <a:pt x="0" y="0"/>
                </a:moveTo>
                <a:lnTo>
                  <a:pt x="38666" y="0"/>
                </a:lnTo>
                <a:lnTo>
                  <a:pt x="155340" y="0"/>
                </a:lnTo>
                <a:lnTo>
                  <a:pt x="155340" y="32"/>
                </a:lnTo>
                <a:lnTo>
                  <a:pt x="4582309" y="1240"/>
                </a:lnTo>
                <a:lnTo>
                  <a:pt x="4690137" y="1240"/>
                </a:lnTo>
                <a:lnTo>
                  <a:pt x="4759543" y="1240"/>
                </a:lnTo>
                <a:lnTo>
                  <a:pt x="4823992" y="1240"/>
                </a:lnTo>
                <a:lnTo>
                  <a:pt x="4956608" y="1240"/>
                </a:lnTo>
                <a:lnTo>
                  <a:pt x="5070633" y="1240"/>
                </a:lnTo>
                <a:lnTo>
                  <a:pt x="5184658" y="1240"/>
                </a:lnTo>
                <a:lnTo>
                  <a:pt x="5261501" y="1240"/>
                </a:lnTo>
                <a:lnTo>
                  <a:pt x="5361892" y="1240"/>
                </a:lnTo>
                <a:lnTo>
                  <a:pt x="5406511" y="1240"/>
                </a:lnTo>
                <a:lnTo>
                  <a:pt x="5508141" y="1240"/>
                </a:lnTo>
                <a:lnTo>
                  <a:pt x="5756021" y="1240"/>
                </a:lnTo>
                <a:lnTo>
                  <a:pt x="5894834" y="1240"/>
                </a:lnTo>
                <a:cubicBezTo>
                  <a:pt x="5956804" y="19835"/>
                  <a:pt x="6022493" y="24794"/>
                  <a:pt x="6085702" y="39670"/>
                </a:cubicBezTo>
                <a:cubicBezTo>
                  <a:pt x="6116687" y="47109"/>
                  <a:pt x="6148911" y="53307"/>
                  <a:pt x="6181136" y="59505"/>
                </a:cubicBezTo>
                <a:cubicBezTo>
                  <a:pt x="6282767" y="78101"/>
                  <a:pt x="6384398" y="102895"/>
                  <a:pt x="6484789" y="128928"/>
                </a:cubicBezTo>
                <a:cubicBezTo>
                  <a:pt x="6525689" y="138846"/>
                  <a:pt x="6566589" y="148764"/>
                  <a:pt x="6606250" y="163640"/>
                </a:cubicBezTo>
                <a:cubicBezTo>
                  <a:pt x="6699205" y="188434"/>
                  <a:pt x="6789682" y="218187"/>
                  <a:pt x="6877679" y="256617"/>
                </a:cubicBezTo>
                <a:cubicBezTo>
                  <a:pt x="6981789" y="295048"/>
                  <a:pt x="7078462" y="344636"/>
                  <a:pt x="7167699" y="409100"/>
                </a:cubicBezTo>
                <a:cubicBezTo>
                  <a:pt x="7279245" y="489680"/>
                  <a:pt x="7327581" y="597534"/>
                  <a:pt x="7328821" y="732661"/>
                </a:cubicBezTo>
                <a:cubicBezTo>
                  <a:pt x="7330060" y="931012"/>
                  <a:pt x="7295357" y="1124405"/>
                  <a:pt x="7249499" y="1315318"/>
                </a:cubicBezTo>
                <a:cubicBezTo>
                  <a:pt x="7142911" y="1760369"/>
                  <a:pt x="6989225" y="2190544"/>
                  <a:pt x="6824385" y="2616999"/>
                </a:cubicBezTo>
                <a:cubicBezTo>
                  <a:pt x="6545520" y="3340982"/>
                  <a:pt x="6229473" y="4047609"/>
                  <a:pt x="5899792" y="4748037"/>
                </a:cubicBezTo>
                <a:cubicBezTo>
                  <a:pt x="5571351" y="5447226"/>
                  <a:pt x="5225558" y="6138976"/>
                  <a:pt x="4868611" y="6824528"/>
                </a:cubicBezTo>
                <a:cubicBezTo>
                  <a:pt x="4858695" y="6844364"/>
                  <a:pt x="4823403" y="6858000"/>
                  <a:pt x="4799855" y="6858000"/>
                </a:cubicBezTo>
                <a:cubicBezTo>
                  <a:pt x="4572372" y="6863579"/>
                  <a:pt x="4271796" y="6858000"/>
                  <a:pt x="3503711" y="6858000"/>
                </a:cubicBezTo>
                <a:lnTo>
                  <a:pt x="191343" y="6858000"/>
                </a:lnTo>
                <a:lnTo>
                  <a:pt x="0" y="6858000"/>
                </a:lnTo>
                <a:lnTo>
                  <a:pt x="0" y="0"/>
                </a:lnTo>
                <a:close/>
              </a:path>
            </a:pathLst>
          </a:custGeom>
          <a:gradFill>
            <a:gsLst>
              <a:gs pos="69000">
                <a:schemeClr val="bg2"/>
              </a:gs>
              <a:gs pos="0">
                <a:schemeClr val="accent1"/>
              </a:gs>
              <a:gs pos="88000">
                <a:schemeClr val="accent1">
                  <a:alpha val="60000"/>
                </a:schemeClr>
              </a:gs>
            </a:gsLst>
            <a:lin ang="600000" scaled="0"/>
          </a:gradFill>
        </p:spPr>
        <p:txBody>
          <a:bodyPr wrap="square" lIns="504000" tIns="360000" rIns="1260000" bIns="3780000" anchor="b" anchorCtr="0">
            <a:noAutofit/>
          </a:bodyPr>
          <a:lstStyle>
            <a:lvl1pPr algn="l">
              <a:defRPr sz="4000" baseline="0">
                <a:solidFill>
                  <a:schemeClr val="bg1"/>
                </a:solidFill>
              </a:defRPr>
            </a:lvl1pPr>
          </a:lstStyle>
          <a:p>
            <a:r>
              <a:rPr lang="de-DE"/>
              <a:t>Titelmasterformat durch  Klicken bearbeiten</a:t>
            </a:r>
          </a:p>
        </p:txBody>
      </p:sp>
      <p:sp>
        <p:nvSpPr>
          <p:cNvPr id="10" name="Textplatzhalter 9"/>
          <p:cNvSpPr>
            <a:spLocks noGrp="1"/>
          </p:cNvSpPr>
          <p:nvPr>
            <p:ph type="body" sz="quarter" idx="11" hasCustomPrompt="1"/>
          </p:nvPr>
        </p:nvSpPr>
        <p:spPr>
          <a:xfrm>
            <a:off x="514800" y="6129300"/>
            <a:ext cx="4032000"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sp>
        <p:nvSpPr>
          <p:cNvPr id="3" name="Untertitel 2"/>
          <p:cNvSpPr>
            <a:spLocks noGrp="1"/>
          </p:cNvSpPr>
          <p:nvPr>
            <p:ph type="subTitle" idx="1"/>
          </p:nvPr>
        </p:nvSpPr>
        <p:spPr>
          <a:xfrm>
            <a:off x="514800" y="3384000"/>
            <a:ext cx="4899347" cy="615553"/>
          </a:xfrm>
        </p:spPr>
        <p:txBody>
          <a:bodyPr>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cxnSp>
        <p:nvCxnSpPr>
          <p:cNvPr id="24"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37"/>
          <p:cNvSpPr>
            <a:spLocks noGrp="1"/>
          </p:cNvSpPr>
          <p:nvPr>
            <p:ph type="body" sz="quarter" idx="14"/>
          </p:nvPr>
        </p:nvSpPr>
        <p:spPr bwMode="gray">
          <a:xfrm>
            <a:off x="8274943" y="5147834"/>
            <a:ext cx="3917057" cy="1710167"/>
          </a:xfrm>
          <a:custGeom>
            <a:avLst/>
            <a:gdLst>
              <a:gd name="connsiteX0" fmla="*/ 3917057 w 3917057"/>
              <a:gd name="connsiteY0" fmla="*/ 0 h 1710167"/>
              <a:gd name="connsiteX1" fmla="*/ 3917057 w 3917057"/>
              <a:gd name="connsiteY1" fmla="*/ 1710167 h 1710167"/>
              <a:gd name="connsiteX2" fmla="*/ 840909 w 3917057"/>
              <a:gd name="connsiteY2" fmla="*/ 1710167 h 1710167"/>
              <a:gd name="connsiteX3" fmla="*/ 727104 w 3917057"/>
              <a:gd name="connsiteY3" fmla="*/ 1610865 h 1710167"/>
              <a:gd name="connsiteX4" fmla="*/ 20206 w 3917057"/>
              <a:gd name="connsiteY4" fmla="*/ 655140 h 1710167"/>
              <a:gd name="connsiteX5" fmla="*/ 3917057 w 3917057"/>
              <a:gd name="connsiteY5" fmla="*/ 0 h 171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7057" h="1710167">
                <a:moveTo>
                  <a:pt x="3917057" y="0"/>
                </a:moveTo>
                <a:lnTo>
                  <a:pt x="3917057" y="1710167"/>
                </a:lnTo>
                <a:lnTo>
                  <a:pt x="840909" y="1710167"/>
                </a:lnTo>
                <a:lnTo>
                  <a:pt x="727104" y="1610865"/>
                </a:lnTo>
                <a:cubicBezTo>
                  <a:pt x="222630" y="1158465"/>
                  <a:pt x="-83750" y="791517"/>
                  <a:pt x="20206" y="655140"/>
                </a:cubicBezTo>
                <a:cubicBezTo>
                  <a:pt x="173334" y="462296"/>
                  <a:pt x="2343531" y="140010"/>
                  <a:pt x="3917057" y="0"/>
                </a:cubicBezTo>
                <a:close/>
              </a:path>
            </a:pathLst>
          </a:custGeom>
          <a:solidFill>
            <a:schemeClr val="bg1"/>
          </a:solidFill>
        </p:spPr>
        <p:txBody>
          <a:bodyPr wrap="square" anchor="ctr">
            <a:noAutofit/>
          </a:bodyPr>
          <a:lstStyle>
            <a:lvl1pPr marL="0" indent="0" algn="ctr">
              <a:buFont typeface="Arial" panose="020B0604020202020204" pitchFamily="34" charset="0"/>
              <a:buNone/>
              <a:defRPr sz="1200">
                <a:solidFill>
                  <a:schemeClr val="bg1"/>
                </a:solidFill>
              </a:defRPr>
            </a:lvl1pPr>
            <a:lvl2pPr marL="0" indent="0">
              <a:buFont typeface="Arial" panose="020B0604020202020204" pitchFamily="34" charset="0"/>
              <a:buNone/>
              <a:defRPr sz="1200">
                <a:solidFill>
                  <a:schemeClr val="bg1"/>
                </a:solidFill>
              </a:defRPr>
            </a:lvl2pPr>
            <a:lvl3pPr marL="0" indent="0">
              <a:buNone/>
              <a:defRPr sz="1200">
                <a:solidFill>
                  <a:schemeClr val="bg1"/>
                </a:solidFill>
              </a:defRPr>
            </a:lvl3pPr>
            <a:lvl4pPr marL="0" indent="0">
              <a:buNone/>
              <a:defRPr sz="1200">
                <a:solidFill>
                  <a:schemeClr val="bg1"/>
                </a:solidFill>
              </a:defRPr>
            </a:lvl4pPr>
            <a:lvl5pPr marL="0" indent="0">
              <a:buNone/>
              <a:defRPr sz="1200">
                <a:solidFill>
                  <a:schemeClr val="bg1"/>
                </a:solidFill>
              </a:defRPr>
            </a:lvl5pPr>
          </a:lstStyle>
          <a:p>
            <a:pPr lvl="0"/>
            <a:r>
              <a:rPr lang="de-DE"/>
              <a:t>Textmasterformat bearbeiten</a:t>
            </a:r>
          </a:p>
        </p:txBody>
      </p:sp>
    </p:spTree>
    <p:extLst>
      <p:ext uri="{BB962C8B-B14F-4D97-AF65-F5344CB8AC3E}">
        <p14:creationId xmlns:p14="http://schemas.microsoft.com/office/powerpoint/2010/main" val="3505974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Bild + kleiner Layer 01">
    <p:bg>
      <p:bgPr>
        <a:solidFill>
          <a:schemeClr val="bg1"/>
        </a:solidFill>
        <a:effectLst/>
      </p:bgPr>
    </p:bg>
    <p:spTree>
      <p:nvGrpSpPr>
        <p:cNvPr id="1" name=""/>
        <p:cNvGrpSpPr/>
        <p:nvPr/>
      </p:nvGrpSpPr>
      <p:grpSpPr>
        <a:xfrm>
          <a:off x="0" y="0"/>
          <a:ext cx="0" cy="0"/>
          <a:chOff x="0" y="0"/>
          <a:chExt cx="0" cy="0"/>
        </a:xfrm>
      </p:grpSpPr>
      <p:sp>
        <p:nvSpPr>
          <p:cNvPr id="14" name="Bildplatzhalter 13"/>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rgbClr val="E7E7E8"/>
          </a:solidFill>
        </p:spPr>
        <p:txBody>
          <a:bodyPr wrap="square">
            <a:noAutofit/>
          </a:bodyPr>
          <a:lstStyle/>
          <a:p>
            <a:r>
              <a:rPr lang="de-DE"/>
              <a:t>Bild durch Klicken auf Symbol hinzufügen</a:t>
            </a:r>
          </a:p>
        </p:txBody>
      </p:sp>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1194401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4" imgW="270" imgH="270" progId="TCLayout.ActiveDocument.1">
                  <p:embed/>
                </p:oleObj>
              </mc:Choice>
              <mc:Fallback>
                <p:oleObj name="think-cell Folie" r:id="rId4" imgW="270" imgH="270" progId="TCLayout.ActiveDocument.1">
                  <p:embed/>
                  <p:pic>
                    <p:nvPicPr>
                      <p:cNvPr id="15" name="Objek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gray">
          <a:xfrm>
            <a:off x="2" y="2903145"/>
            <a:ext cx="7097324" cy="3957236"/>
          </a:xfrm>
          <a:custGeom>
            <a:avLst/>
            <a:gdLst>
              <a:gd name="connsiteX0" fmla="*/ 1336828 w 7089431"/>
              <a:gd name="connsiteY0" fmla="*/ 0 h 3957236"/>
              <a:gd name="connsiteX1" fmla="*/ 2037688 w 7089431"/>
              <a:gd name="connsiteY1" fmla="*/ 3205 h 3957236"/>
              <a:gd name="connsiteX2" fmla="*/ 2370517 w 7089431"/>
              <a:gd name="connsiteY2" fmla="*/ 9613 h 3957236"/>
              <a:gd name="connsiteX3" fmla="*/ 3000971 w 7089431"/>
              <a:gd name="connsiteY3" fmla="*/ 28839 h 3957236"/>
              <a:gd name="connsiteX4" fmla="*/ 3535417 w 7089431"/>
              <a:gd name="connsiteY4" fmla="*/ 54472 h 3957236"/>
              <a:gd name="connsiteX5" fmla="*/ 4290682 w 7089431"/>
              <a:gd name="connsiteY5" fmla="*/ 105741 h 3957236"/>
              <a:gd name="connsiteX6" fmla="*/ 4994743 w 7089431"/>
              <a:gd name="connsiteY6" fmla="*/ 176234 h 3957236"/>
              <a:gd name="connsiteX7" fmla="*/ 5890820 w 7089431"/>
              <a:gd name="connsiteY7" fmla="*/ 317220 h 3957236"/>
              <a:gd name="connsiteX8" fmla="*/ 6121240 w 7089431"/>
              <a:gd name="connsiteY8" fmla="*/ 368488 h 3957236"/>
              <a:gd name="connsiteX9" fmla="*/ 6370862 w 7089431"/>
              <a:gd name="connsiteY9" fmla="*/ 432573 h 3957236"/>
              <a:gd name="connsiteX10" fmla="*/ 6854103 w 7089431"/>
              <a:gd name="connsiteY10" fmla="*/ 628031 h 3957236"/>
              <a:gd name="connsiteX11" fmla="*/ 6966113 w 7089431"/>
              <a:gd name="connsiteY11" fmla="*/ 711342 h 3957236"/>
              <a:gd name="connsiteX12" fmla="*/ 7087723 w 7089431"/>
              <a:gd name="connsiteY12" fmla="*/ 980498 h 3957236"/>
              <a:gd name="connsiteX13" fmla="*/ 7020518 w 7089431"/>
              <a:gd name="connsiteY13" fmla="*/ 1541240 h 3957236"/>
              <a:gd name="connsiteX14" fmla="*/ 6646085 w 7089431"/>
              <a:gd name="connsiteY14" fmla="*/ 2739625 h 3957236"/>
              <a:gd name="connsiteX15" fmla="*/ 6159643 w 7089431"/>
              <a:gd name="connsiteY15" fmla="*/ 3934806 h 3957236"/>
              <a:gd name="connsiteX16" fmla="*/ 6153243 w 7089431"/>
              <a:gd name="connsiteY16" fmla="*/ 3954032 h 3957236"/>
              <a:gd name="connsiteX17" fmla="*/ 5846017 w 7089431"/>
              <a:gd name="connsiteY17" fmla="*/ 3954032 h 3957236"/>
              <a:gd name="connsiteX18" fmla="*/ 5660400 w 7089431"/>
              <a:gd name="connsiteY18" fmla="*/ 3954032 h 3957236"/>
              <a:gd name="connsiteX19" fmla="*/ 5468384 w 7089431"/>
              <a:gd name="connsiteY19" fmla="*/ 3954032 h 3957236"/>
              <a:gd name="connsiteX20" fmla="*/ 5269967 w 7089431"/>
              <a:gd name="connsiteY20" fmla="*/ 3954032 h 3957236"/>
              <a:gd name="connsiteX21" fmla="*/ 4914736 w 7089431"/>
              <a:gd name="connsiteY21" fmla="*/ 3954032 h 3957236"/>
              <a:gd name="connsiteX22" fmla="*/ 27915 w 7089431"/>
              <a:gd name="connsiteY22" fmla="*/ 3957236 h 3957236"/>
              <a:gd name="connsiteX23" fmla="*/ 5113 w 7089431"/>
              <a:gd name="connsiteY23" fmla="*/ 3950828 h 3957236"/>
              <a:gd name="connsiteX24" fmla="*/ 0 w 7089431"/>
              <a:gd name="connsiteY24" fmla="*/ 3928987 h 3957236"/>
              <a:gd name="connsiteX25" fmla="*/ 0 w 7089431"/>
              <a:gd name="connsiteY25" fmla="*/ 22408 h 3957236"/>
              <a:gd name="connsiteX26" fmla="*/ 635967 w 7089431"/>
              <a:gd name="connsiteY26" fmla="*/ 6409 h 3957236"/>
              <a:gd name="connsiteX27" fmla="*/ 1336828 w 7089431"/>
              <a:gd name="connsiteY27" fmla="*/ 0 h 3957236"/>
              <a:gd name="connsiteX0" fmla="*/ 1336828 w 7097324"/>
              <a:gd name="connsiteY0" fmla="*/ 0 h 3961176"/>
              <a:gd name="connsiteX1" fmla="*/ 2037688 w 7097324"/>
              <a:gd name="connsiteY1" fmla="*/ 3205 h 3961176"/>
              <a:gd name="connsiteX2" fmla="*/ 2370517 w 7097324"/>
              <a:gd name="connsiteY2" fmla="*/ 9613 h 3961176"/>
              <a:gd name="connsiteX3" fmla="*/ 3000971 w 7097324"/>
              <a:gd name="connsiteY3" fmla="*/ 28839 h 3961176"/>
              <a:gd name="connsiteX4" fmla="*/ 3535417 w 7097324"/>
              <a:gd name="connsiteY4" fmla="*/ 54472 h 3961176"/>
              <a:gd name="connsiteX5" fmla="*/ 4290682 w 7097324"/>
              <a:gd name="connsiteY5" fmla="*/ 105741 h 3961176"/>
              <a:gd name="connsiteX6" fmla="*/ 4994743 w 7097324"/>
              <a:gd name="connsiteY6" fmla="*/ 176234 h 3961176"/>
              <a:gd name="connsiteX7" fmla="*/ 5890820 w 7097324"/>
              <a:gd name="connsiteY7" fmla="*/ 317220 h 3961176"/>
              <a:gd name="connsiteX8" fmla="*/ 6121240 w 7097324"/>
              <a:gd name="connsiteY8" fmla="*/ 368488 h 3961176"/>
              <a:gd name="connsiteX9" fmla="*/ 6370862 w 7097324"/>
              <a:gd name="connsiteY9" fmla="*/ 432573 h 3961176"/>
              <a:gd name="connsiteX10" fmla="*/ 6854103 w 7097324"/>
              <a:gd name="connsiteY10" fmla="*/ 628031 h 3961176"/>
              <a:gd name="connsiteX11" fmla="*/ 6966113 w 7097324"/>
              <a:gd name="connsiteY11" fmla="*/ 711342 h 3961176"/>
              <a:gd name="connsiteX12" fmla="*/ 7087723 w 7097324"/>
              <a:gd name="connsiteY12" fmla="*/ 980498 h 3961176"/>
              <a:gd name="connsiteX13" fmla="*/ 7020518 w 7097324"/>
              <a:gd name="connsiteY13" fmla="*/ 1541240 h 3961176"/>
              <a:gd name="connsiteX14" fmla="*/ 6646085 w 7097324"/>
              <a:gd name="connsiteY14" fmla="*/ 2739625 h 3961176"/>
              <a:gd name="connsiteX15" fmla="*/ 6159643 w 7097324"/>
              <a:gd name="connsiteY15" fmla="*/ 3934806 h 3961176"/>
              <a:gd name="connsiteX16" fmla="*/ 6153243 w 7097324"/>
              <a:gd name="connsiteY16" fmla="*/ 3954032 h 3961176"/>
              <a:gd name="connsiteX17" fmla="*/ 5846017 w 7097324"/>
              <a:gd name="connsiteY17" fmla="*/ 3954032 h 3961176"/>
              <a:gd name="connsiteX18" fmla="*/ 5660400 w 7097324"/>
              <a:gd name="connsiteY18" fmla="*/ 3954032 h 3961176"/>
              <a:gd name="connsiteX19" fmla="*/ 5468384 w 7097324"/>
              <a:gd name="connsiteY19" fmla="*/ 3954032 h 3961176"/>
              <a:gd name="connsiteX20" fmla="*/ 5269967 w 7097324"/>
              <a:gd name="connsiteY20" fmla="*/ 3954032 h 3961176"/>
              <a:gd name="connsiteX21" fmla="*/ 4914736 w 7097324"/>
              <a:gd name="connsiteY21" fmla="*/ 3954032 h 3961176"/>
              <a:gd name="connsiteX22" fmla="*/ 27915 w 7097324"/>
              <a:gd name="connsiteY22" fmla="*/ 3957236 h 3961176"/>
              <a:gd name="connsiteX23" fmla="*/ 5113 w 7097324"/>
              <a:gd name="connsiteY23" fmla="*/ 3950828 h 3961176"/>
              <a:gd name="connsiteX24" fmla="*/ 0 w 7097324"/>
              <a:gd name="connsiteY24" fmla="*/ 3928987 h 3961176"/>
              <a:gd name="connsiteX25" fmla="*/ 0 w 7097324"/>
              <a:gd name="connsiteY25" fmla="*/ 22408 h 3961176"/>
              <a:gd name="connsiteX26" fmla="*/ 635967 w 7097324"/>
              <a:gd name="connsiteY26" fmla="*/ 6409 h 3961176"/>
              <a:gd name="connsiteX27" fmla="*/ 1336828 w 7097324"/>
              <a:gd name="connsiteY27" fmla="*/ 0 h 3961176"/>
              <a:gd name="connsiteX0" fmla="*/ 1336828 w 7097324"/>
              <a:gd name="connsiteY0" fmla="*/ 0 h 3963557"/>
              <a:gd name="connsiteX1" fmla="*/ 2037688 w 7097324"/>
              <a:gd name="connsiteY1" fmla="*/ 3205 h 3963557"/>
              <a:gd name="connsiteX2" fmla="*/ 2370517 w 7097324"/>
              <a:gd name="connsiteY2" fmla="*/ 9613 h 3963557"/>
              <a:gd name="connsiteX3" fmla="*/ 3000971 w 7097324"/>
              <a:gd name="connsiteY3" fmla="*/ 28839 h 3963557"/>
              <a:gd name="connsiteX4" fmla="*/ 3535417 w 7097324"/>
              <a:gd name="connsiteY4" fmla="*/ 54472 h 3963557"/>
              <a:gd name="connsiteX5" fmla="*/ 4290682 w 7097324"/>
              <a:gd name="connsiteY5" fmla="*/ 105741 h 3963557"/>
              <a:gd name="connsiteX6" fmla="*/ 4994743 w 7097324"/>
              <a:gd name="connsiteY6" fmla="*/ 176234 h 3963557"/>
              <a:gd name="connsiteX7" fmla="*/ 5890820 w 7097324"/>
              <a:gd name="connsiteY7" fmla="*/ 317220 h 3963557"/>
              <a:gd name="connsiteX8" fmla="*/ 6121240 w 7097324"/>
              <a:gd name="connsiteY8" fmla="*/ 368488 h 3963557"/>
              <a:gd name="connsiteX9" fmla="*/ 6370862 w 7097324"/>
              <a:gd name="connsiteY9" fmla="*/ 432573 h 3963557"/>
              <a:gd name="connsiteX10" fmla="*/ 6854103 w 7097324"/>
              <a:gd name="connsiteY10" fmla="*/ 628031 h 3963557"/>
              <a:gd name="connsiteX11" fmla="*/ 6966113 w 7097324"/>
              <a:gd name="connsiteY11" fmla="*/ 711342 h 3963557"/>
              <a:gd name="connsiteX12" fmla="*/ 7087723 w 7097324"/>
              <a:gd name="connsiteY12" fmla="*/ 980498 h 3963557"/>
              <a:gd name="connsiteX13" fmla="*/ 7020518 w 7097324"/>
              <a:gd name="connsiteY13" fmla="*/ 1541240 h 3963557"/>
              <a:gd name="connsiteX14" fmla="*/ 6646085 w 7097324"/>
              <a:gd name="connsiteY14" fmla="*/ 2739625 h 3963557"/>
              <a:gd name="connsiteX15" fmla="*/ 6159643 w 7097324"/>
              <a:gd name="connsiteY15" fmla="*/ 3934806 h 3963557"/>
              <a:gd name="connsiteX16" fmla="*/ 6153243 w 7097324"/>
              <a:gd name="connsiteY16" fmla="*/ 3954032 h 3963557"/>
              <a:gd name="connsiteX17" fmla="*/ 5846017 w 7097324"/>
              <a:gd name="connsiteY17" fmla="*/ 3954032 h 3963557"/>
              <a:gd name="connsiteX18" fmla="*/ 5660400 w 7097324"/>
              <a:gd name="connsiteY18" fmla="*/ 3954032 h 3963557"/>
              <a:gd name="connsiteX19" fmla="*/ 5468384 w 7097324"/>
              <a:gd name="connsiteY19" fmla="*/ 3954032 h 3963557"/>
              <a:gd name="connsiteX20" fmla="*/ 5269967 w 7097324"/>
              <a:gd name="connsiteY20" fmla="*/ 3954032 h 3963557"/>
              <a:gd name="connsiteX21" fmla="*/ 4914736 w 7097324"/>
              <a:gd name="connsiteY21" fmla="*/ 3954032 h 3963557"/>
              <a:gd name="connsiteX22" fmla="*/ 27915 w 7097324"/>
              <a:gd name="connsiteY22" fmla="*/ 3957236 h 3963557"/>
              <a:gd name="connsiteX23" fmla="*/ 5113 w 7097324"/>
              <a:gd name="connsiteY23" fmla="*/ 3950828 h 3963557"/>
              <a:gd name="connsiteX24" fmla="*/ 0 w 7097324"/>
              <a:gd name="connsiteY24" fmla="*/ 3928987 h 3963557"/>
              <a:gd name="connsiteX25" fmla="*/ 0 w 7097324"/>
              <a:gd name="connsiteY25" fmla="*/ 22408 h 3963557"/>
              <a:gd name="connsiteX26" fmla="*/ 635967 w 7097324"/>
              <a:gd name="connsiteY26" fmla="*/ 6409 h 3963557"/>
              <a:gd name="connsiteX27" fmla="*/ 1336828 w 7097324"/>
              <a:gd name="connsiteY27" fmla="*/ 0 h 3963557"/>
              <a:gd name="connsiteX0" fmla="*/ 1336828 w 7097324"/>
              <a:gd name="connsiteY0" fmla="*/ 0 h 3957236"/>
              <a:gd name="connsiteX1" fmla="*/ 2037688 w 7097324"/>
              <a:gd name="connsiteY1" fmla="*/ 3205 h 3957236"/>
              <a:gd name="connsiteX2" fmla="*/ 2370517 w 7097324"/>
              <a:gd name="connsiteY2" fmla="*/ 9613 h 3957236"/>
              <a:gd name="connsiteX3" fmla="*/ 3000971 w 7097324"/>
              <a:gd name="connsiteY3" fmla="*/ 28839 h 3957236"/>
              <a:gd name="connsiteX4" fmla="*/ 3535417 w 7097324"/>
              <a:gd name="connsiteY4" fmla="*/ 54472 h 3957236"/>
              <a:gd name="connsiteX5" fmla="*/ 4290682 w 7097324"/>
              <a:gd name="connsiteY5" fmla="*/ 105741 h 3957236"/>
              <a:gd name="connsiteX6" fmla="*/ 4994743 w 7097324"/>
              <a:gd name="connsiteY6" fmla="*/ 176234 h 3957236"/>
              <a:gd name="connsiteX7" fmla="*/ 5890820 w 7097324"/>
              <a:gd name="connsiteY7" fmla="*/ 317220 h 3957236"/>
              <a:gd name="connsiteX8" fmla="*/ 6121240 w 7097324"/>
              <a:gd name="connsiteY8" fmla="*/ 368488 h 3957236"/>
              <a:gd name="connsiteX9" fmla="*/ 6370862 w 7097324"/>
              <a:gd name="connsiteY9" fmla="*/ 432573 h 3957236"/>
              <a:gd name="connsiteX10" fmla="*/ 6854103 w 7097324"/>
              <a:gd name="connsiteY10" fmla="*/ 628031 h 3957236"/>
              <a:gd name="connsiteX11" fmla="*/ 6966113 w 7097324"/>
              <a:gd name="connsiteY11" fmla="*/ 711342 h 3957236"/>
              <a:gd name="connsiteX12" fmla="*/ 7087723 w 7097324"/>
              <a:gd name="connsiteY12" fmla="*/ 980498 h 3957236"/>
              <a:gd name="connsiteX13" fmla="*/ 7020518 w 7097324"/>
              <a:gd name="connsiteY13" fmla="*/ 1541240 h 3957236"/>
              <a:gd name="connsiteX14" fmla="*/ 6646085 w 7097324"/>
              <a:gd name="connsiteY14" fmla="*/ 2739625 h 3957236"/>
              <a:gd name="connsiteX15" fmla="*/ 6159643 w 7097324"/>
              <a:gd name="connsiteY15" fmla="*/ 3934806 h 3957236"/>
              <a:gd name="connsiteX16" fmla="*/ 6153243 w 7097324"/>
              <a:gd name="connsiteY16" fmla="*/ 3954032 h 3957236"/>
              <a:gd name="connsiteX17" fmla="*/ 5660400 w 7097324"/>
              <a:gd name="connsiteY17" fmla="*/ 3954032 h 3957236"/>
              <a:gd name="connsiteX18" fmla="*/ 5468384 w 7097324"/>
              <a:gd name="connsiteY18" fmla="*/ 3954032 h 3957236"/>
              <a:gd name="connsiteX19" fmla="*/ 5269967 w 7097324"/>
              <a:gd name="connsiteY19" fmla="*/ 3954032 h 3957236"/>
              <a:gd name="connsiteX20" fmla="*/ 4914736 w 7097324"/>
              <a:gd name="connsiteY20" fmla="*/ 3954032 h 3957236"/>
              <a:gd name="connsiteX21" fmla="*/ 27915 w 7097324"/>
              <a:gd name="connsiteY21" fmla="*/ 3957236 h 3957236"/>
              <a:gd name="connsiteX22" fmla="*/ 5113 w 7097324"/>
              <a:gd name="connsiteY22" fmla="*/ 3950828 h 3957236"/>
              <a:gd name="connsiteX23" fmla="*/ 0 w 7097324"/>
              <a:gd name="connsiteY23" fmla="*/ 3928987 h 3957236"/>
              <a:gd name="connsiteX24" fmla="*/ 0 w 7097324"/>
              <a:gd name="connsiteY24" fmla="*/ 22408 h 3957236"/>
              <a:gd name="connsiteX25" fmla="*/ 635967 w 7097324"/>
              <a:gd name="connsiteY25" fmla="*/ 6409 h 3957236"/>
              <a:gd name="connsiteX26" fmla="*/ 1336828 w 7097324"/>
              <a:gd name="connsiteY26" fmla="*/ 0 h 3957236"/>
              <a:gd name="connsiteX0" fmla="*/ 1336828 w 7097324"/>
              <a:gd name="connsiteY0" fmla="*/ 0 h 3957236"/>
              <a:gd name="connsiteX1" fmla="*/ 2037688 w 7097324"/>
              <a:gd name="connsiteY1" fmla="*/ 3205 h 3957236"/>
              <a:gd name="connsiteX2" fmla="*/ 2370517 w 7097324"/>
              <a:gd name="connsiteY2" fmla="*/ 9613 h 3957236"/>
              <a:gd name="connsiteX3" fmla="*/ 3000971 w 7097324"/>
              <a:gd name="connsiteY3" fmla="*/ 28839 h 3957236"/>
              <a:gd name="connsiteX4" fmla="*/ 3535417 w 7097324"/>
              <a:gd name="connsiteY4" fmla="*/ 54472 h 3957236"/>
              <a:gd name="connsiteX5" fmla="*/ 4290682 w 7097324"/>
              <a:gd name="connsiteY5" fmla="*/ 105741 h 3957236"/>
              <a:gd name="connsiteX6" fmla="*/ 4994743 w 7097324"/>
              <a:gd name="connsiteY6" fmla="*/ 176234 h 3957236"/>
              <a:gd name="connsiteX7" fmla="*/ 5890820 w 7097324"/>
              <a:gd name="connsiteY7" fmla="*/ 317220 h 3957236"/>
              <a:gd name="connsiteX8" fmla="*/ 6121240 w 7097324"/>
              <a:gd name="connsiteY8" fmla="*/ 368488 h 3957236"/>
              <a:gd name="connsiteX9" fmla="*/ 6370862 w 7097324"/>
              <a:gd name="connsiteY9" fmla="*/ 432573 h 3957236"/>
              <a:gd name="connsiteX10" fmla="*/ 6854103 w 7097324"/>
              <a:gd name="connsiteY10" fmla="*/ 628031 h 3957236"/>
              <a:gd name="connsiteX11" fmla="*/ 6966113 w 7097324"/>
              <a:gd name="connsiteY11" fmla="*/ 711342 h 3957236"/>
              <a:gd name="connsiteX12" fmla="*/ 7087723 w 7097324"/>
              <a:gd name="connsiteY12" fmla="*/ 980498 h 3957236"/>
              <a:gd name="connsiteX13" fmla="*/ 7020518 w 7097324"/>
              <a:gd name="connsiteY13" fmla="*/ 1541240 h 3957236"/>
              <a:gd name="connsiteX14" fmla="*/ 6646085 w 7097324"/>
              <a:gd name="connsiteY14" fmla="*/ 2739625 h 3957236"/>
              <a:gd name="connsiteX15" fmla="*/ 6159643 w 7097324"/>
              <a:gd name="connsiteY15" fmla="*/ 3934806 h 3957236"/>
              <a:gd name="connsiteX16" fmla="*/ 6153243 w 7097324"/>
              <a:gd name="connsiteY16" fmla="*/ 3954032 h 3957236"/>
              <a:gd name="connsiteX17" fmla="*/ 5468384 w 7097324"/>
              <a:gd name="connsiteY17" fmla="*/ 3954032 h 3957236"/>
              <a:gd name="connsiteX18" fmla="*/ 5269967 w 7097324"/>
              <a:gd name="connsiteY18" fmla="*/ 3954032 h 3957236"/>
              <a:gd name="connsiteX19" fmla="*/ 4914736 w 7097324"/>
              <a:gd name="connsiteY19" fmla="*/ 3954032 h 3957236"/>
              <a:gd name="connsiteX20" fmla="*/ 27915 w 7097324"/>
              <a:gd name="connsiteY20" fmla="*/ 3957236 h 3957236"/>
              <a:gd name="connsiteX21" fmla="*/ 5113 w 7097324"/>
              <a:gd name="connsiteY21" fmla="*/ 3950828 h 3957236"/>
              <a:gd name="connsiteX22" fmla="*/ 0 w 7097324"/>
              <a:gd name="connsiteY22" fmla="*/ 3928987 h 3957236"/>
              <a:gd name="connsiteX23" fmla="*/ 0 w 7097324"/>
              <a:gd name="connsiteY23" fmla="*/ 22408 h 3957236"/>
              <a:gd name="connsiteX24" fmla="*/ 635967 w 7097324"/>
              <a:gd name="connsiteY24" fmla="*/ 6409 h 3957236"/>
              <a:gd name="connsiteX25" fmla="*/ 1336828 w 7097324"/>
              <a:gd name="connsiteY25" fmla="*/ 0 h 3957236"/>
              <a:gd name="connsiteX0" fmla="*/ 1336828 w 7097324"/>
              <a:gd name="connsiteY0" fmla="*/ 0 h 3957236"/>
              <a:gd name="connsiteX1" fmla="*/ 2037688 w 7097324"/>
              <a:gd name="connsiteY1" fmla="*/ 3205 h 3957236"/>
              <a:gd name="connsiteX2" fmla="*/ 2370517 w 7097324"/>
              <a:gd name="connsiteY2" fmla="*/ 9613 h 3957236"/>
              <a:gd name="connsiteX3" fmla="*/ 3000971 w 7097324"/>
              <a:gd name="connsiteY3" fmla="*/ 28839 h 3957236"/>
              <a:gd name="connsiteX4" fmla="*/ 3535417 w 7097324"/>
              <a:gd name="connsiteY4" fmla="*/ 54472 h 3957236"/>
              <a:gd name="connsiteX5" fmla="*/ 4290682 w 7097324"/>
              <a:gd name="connsiteY5" fmla="*/ 105741 h 3957236"/>
              <a:gd name="connsiteX6" fmla="*/ 4994743 w 7097324"/>
              <a:gd name="connsiteY6" fmla="*/ 176234 h 3957236"/>
              <a:gd name="connsiteX7" fmla="*/ 5890820 w 7097324"/>
              <a:gd name="connsiteY7" fmla="*/ 317220 h 3957236"/>
              <a:gd name="connsiteX8" fmla="*/ 6121240 w 7097324"/>
              <a:gd name="connsiteY8" fmla="*/ 368488 h 3957236"/>
              <a:gd name="connsiteX9" fmla="*/ 6370862 w 7097324"/>
              <a:gd name="connsiteY9" fmla="*/ 432573 h 3957236"/>
              <a:gd name="connsiteX10" fmla="*/ 6854103 w 7097324"/>
              <a:gd name="connsiteY10" fmla="*/ 628031 h 3957236"/>
              <a:gd name="connsiteX11" fmla="*/ 6966113 w 7097324"/>
              <a:gd name="connsiteY11" fmla="*/ 711342 h 3957236"/>
              <a:gd name="connsiteX12" fmla="*/ 7087723 w 7097324"/>
              <a:gd name="connsiteY12" fmla="*/ 980498 h 3957236"/>
              <a:gd name="connsiteX13" fmla="*/ 7020518 w 7097324"/>
              <a:gd name="connsiteY13" fmla="*/ 1541240 h 3957236"/>
              <a:gd name="connsiteX14" fmla="*/ 6646085 w 7097324"/>
              <a:gd name="connsiteY14" fmla="*/ 2739625 h 3957236"/>
              <a:gd name="connsiteX15" fmla="*/ 6159643 w 7097324"/>
              <a:gd name="connsiteY15" fmla="*/ 3934806 h 3957236"/>
              <a:gd name="connsiteX16" fmla="*/ 6153243 w 7097324"/>
              <a:gd name="connsiteY16" fmla="*/ 3954032 h 3957236"/>
              <a:gd name="connsiteX17" fmla="*/ 5269967 w 7097324"/>
              <a:gd name="connsiteY17" fmla="*/ 3954032 h 3957236"/>
              <a:gd name="connsiteX18" fmla="*/ 4914736 w 7097324"/>
              <a:gd name="connsiteY18" fmla="*/ 3954032 h 3957236"/>
              <a:gd name="connsiteX19" fmla="*/ 27915 w 7097324"/>
              <a:gd name="connsiteY19" fmla="*/ 3957236 h 3957236"/>
              <a:gd name="connsiteX20" fmla="*/ 5113 w 7097324"/>
              <a:gd name="connsiteY20" fmla="*/ 3950828 h 3957236"/>
              <a:gd name="connsiteX21" fmla="*/ 0 w 7097324"/>
              <a:gd name="connsiteY21" fmla="*/ 3928987 h 3957236"/>
              <a:gd name="connsiteX22" fmla="*/ 0 w 7097324"/>
              <a:gd name="connsiteY22" fmla="*/ 22408 h 3957236"/>
              <a:gd name="connsiteX23" fmla="*/ 635967 w 7097324"/>
              <a:gd name="connsiteY23" fmla="*/ 6409 h 3957236"/>
              <a:gd name="connsiteX24" fmla="*/ 1336828 w 7097324"/>
              <a:gd name="connsiteY24" fmla="*/ 0 h 3957236"/>
              <a:gd name="connsiteX0" fmla="*/ 1336828 w 7097324"/>
              <a:gd name="connsiteY0" fmla="*/ 0 h 3957236"/>
              <a:gd name="connsiteX1" fmla="*/ 2037688 w 7097324"/>
              <a:gd name="connsiteY1" fmla="*/ 3205 h 3957236"/>
              <a:gd name="connsiteX2" fmla="*/ 2370517 w 7097324"/>
              <a:gd name="connsiteY2" fmla="*/ 9613 h 3957236"/>
              <a:gd name="connsiteX3" fmla="*/ 3000971 w 7097324"/>
              <a:gd name="connsiteY3" fmla="*/ 28839 h 3957236"/>
              <a:gd name="connsiteX4" fmla="*/ 3535417 w 7097324"/>
              <a:gd name="connsiteY4" fmla="*/ 54472 h 3957236"/>
              <a:gd name="connsiteX5" fmla="*/ 4290682 w 7097324"/>
              <a:gd name="connsiteY5" fmla="*/ 105741 h 3957236"/>
              <a:gd name="connsiteX6" fmla="*/ 4994743 w 7097324"/>
              <a:gd name="connsiteY6" fmla="*/ 176234 h 3957236"/>
              <a:gd name="connsiteX7" fmla="*/ 5890820 w 7097324"/>
              <a:gd name="connsiteY7" fmla="*/ 317220 h 3957236"/>
              <a:gd name="connsiteX8" fmla="*/ 6121240 w 7097324"/>
              <a:gd name="connsiteY8" fmla="*/ 368488 h 3957236"/>
              <a:gd name="connsiteX9" fmla="*/ 6370862 w 7097324"/>
              <a:gd name="connsiteY9" fmla="*/ 432573 h 3957236"/>
              <a:gd name="connsiteX10" fmla="*/ 6854103 w 7097324"/>
              <a:gd name="connsiteY10" fmla="*/ 628031 h 3957236"/>
              <a:gd name="connsiteX11" fmla="*/ 6966113 w 7097324"/>
              <a:gd name="connsiteY11" fmla="*/ 711342 h 3957236"/>
              <a:gd name="connsiteX12" fmla="*/ 7087723 w 7097324"/>
              <a:gd name="connsiteY12" fmla="*/ 980498 h 3957236"/>
              <a:gd name="connsiteX13" fmla="*/ 7020518 w 7097324"/>
              <a:gd name="connsiteY13" fmla="*/ 1541240 h 3957236"/>
              <a:gd name="connsiteX14" fmla="*/ 6646085 w 7097324"/>
              <a:gd name="connsiteY14" fmla="*/ 2739625 h 3957236"/>
              <a:gd name="connsiteX15" fmla="*/ 6159643 w 7097324"/>
              <a:gd name="connsiteY15" fmla="*/ 3934806 h 3957236"/>
              <a:gd name="connsiteX16" fmla="*/ 6153243 w 7097324"/>
              <a:gd name="connsiteY16" fmla="*/ 3954032 h 3957236"/>
              <a:gd name="connsiteX17" fmla="*/ 4914736 w 7097324"/>
              <a:gd name="connsiteY17" fmla="*/ 3954032 h 3957236"/>
              <a:gd name="connsiteX18" fmla="*/ 27915 w 7097324"/>
              <a:gd name="connsiteY18" fmla="*/ 3957236 h 3957236"/>
              <a:gd name="connsiteX19" fmla="*/ 5113 w 7097324"/>
              <a:gd name="connsiteY19" fmla="*/ 3950828 h 3957236"/>
              <a:gd name="connsiteX20" fmla="*/ 0 w 7097324"/>
              <a:gd name="connsiteY20" fmla="*/ 3928987 h 3957236"/>
              <a:gd name="connsiteX21" fmla="*/ 0 w 7097324"/>
              <a:gd name="connsiteY21" fmla="*/ 22408 h 3957236"/>
              <a:gd name="connsiteX22" fmla="*/ 635967 w 7097324"/>
              <a:gd name="connsiteY22" fmla="*/ 6409 h 3957236"/>
              <a:gd name="connsiteX23" fmla="*/ 1336828 w 7097324"/>
              <a:gd name="connsiteY23" fmla="*/ 0 h 3957236"/>
              <a:gd name="connsiteX0" fmla="*/ 1336828 w 7097324"/>
              <a:gd name="connsiteY0" fmla="*/ 0 h 3957236"/>
              <a:gd name="connsiteX1" fmla="*/ 2037688 w 7097324"/>
              <a:gd name="connsiteY1" fmla="*/ 3205 h 3957236"/>
              <a:gd name="connsiteX2" fmla="*/ 2370517 w 7097324"/>
              <a:gd name="connsiteY2" fmla="*/ 9613 h 3957236"/>
              <a:gd name="connsiteX3" fmla="*/ 3000971 w 7097324"/>
              <a:gd name="connsiteY3" fmla="*/ 28839 h 3957236"/>
              <a:gd name="connsiteX4" fmla="*/ 3535417 w 7097324"/>
              <a:gd name="connsiteY4" fmla="*/ 54472 h 3957236"/>
              <a:gd name="connsiteX5" fmla="*/ 4290682 w 7097324"/>
              <a:gd name="connsiteY5" fmla="*/ 105741 h 3957236"/>
              <a:gd name="connsiteX6" fmla="*/ 4994743 w 7097324"/>
              <a:gd name="connsiteY6" fmla="*/ 176234 h 3957236"/>
              <a:gd name="connsiteX7" fmla="*/ 5890820 w 7097324"/>
              <a:gd name="connsiteY7" fmla="*/ 317220 h 3957236"/>
              <a:gd name="connsiteX8" fmla="*/ 6121240 w 7097324"/>
              <a:gd name="connsiteY8" fmla="*/ 368488 h 3957236"/>
              <a:gd name="connsiteX9" fmla="*/ 6370862 w 7097324"/>
              <a:gd name="connsiteY9" fmla="*/ 432573 h 3957236"/>
              <a:gd name="connsiteX10" fmla="*/ 6854103 w 7097324"/>
              <a:gd name="connsiteY10" fmla="*/ 628031 h 3957236"/>
              <a:gd name="connsiteX11" fmla="*/ 6966113 w 7097324"/>
              <a:gd name="connsiteY11" fmla="*/ 711342 h 3957236"/>
              <a:gd name="connsiteX12" fmla="*/ 7087723 w 7097324"/>
              <a:gd name="connsiteY12" fmla="*/ 980498 h 3957236"/>
              <a:gd name="connsiteX13" fmla="*/ 7020518 w 7097324"/>
              <a:gd name="connsiteY13" fmla="*/ 1541240 h 3957236"/>
              <a:gd name="connsiteX14" fmla="*/ 6646085 w 7097324"/>
              <a:gd name="connsiteY14" fmla="*/ 2739625 h 3957236"/>
              <a:gd name="connsiteX15" fmla="*/ 6159643 w 7097324"/>
              <a:gd name="connsiteY15" fmla="*/ 3934806 h 3957236"/>
              <a:gd name="connsiteX16" fmla="*/ 6153243 w 7097324"/>
              <a:gd name="connsiteY16" fmla="*/ 3954032 h 3957236"/>
              <a:gd name="connsiteX17" fmla="*/ 27915 w 7097324"/>
              <a:gd name="connsiteY17" fmla="*/ 3957236 h 3957236"/>
              <a:gd name="connsiteX18" fmla="*/ 5113 w 7097324"/>
              <a:gd name="connsiteY18" fmla="*/ 3950828 h 3957236"/>
              <a:gd name="connsiteX19" fmla="*/ 0 w 7097324"/>
              <a:gd name="connsiteY19" fmla="*/ 3928987 h 3957236"/>
              <a:gd name="connsiteX20" fmla="*/ 0 w 7097324"/>
              <a:gd name="connsiteY20" fmla="*/ 22408 h 3957236"/>
              <a:gd name="connsiteX21" fmla="*/ 635967 w 7097324"/>
              <a:gd name="connsiteY21" fmla="*/ 6409 h 3957236"/>
              <a:gd name="connsiteX22" fmla="*/ 1336828 w 7097324"/>
              <a:gd name="connsiteY22" fmla="*/ 0 h 395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97324" h="3957236">
                <a:moveTo>
                  <a:pt x="1336828" y="0"/>
                </a:moveTo>
                <a:lnTo>
                  <a:pt x="2037688" y="3205"/>
                </a:lnTo>
                <a:lnTo>
                  <a:pt x="2370517" y="9613"/>
                </a:lnTo>
                <a:lnTo>
                  <a:pt x="3000971" y="28839"/>
                </a:lnTo>
                <a:cubicBezTo>
                  <a:pt x="3180187" y="35247"/>
                  <a:pt x="3356202" y="44860"/>
                  <a:pt x="3535417" y="54472"/>
                </a:cubicBezTo>
                <a:lnTo>
                  <a:pt x="4290682" y="105741"/>
                </a:lnTo>
                <a:cubicBezTo>
                  <a:pt x="4527503" y="124966"/>
                  <a:pt x="4761123" y="147395"/>
                  <a:pt x="4994743" y="176234"/>
                </a:cubicBezTo>
                <a:cubicBezTo>
                  <a:pt x="5295569" y="211480"/>
                  <a:pt x="5593195" y="256340"/>
                  <a:pt x="5890820" y="317220"/>
                </a:cubicBezTo>
                <a:cubicBezTo>
                  <a:pt x="5967627" y="333242"/>
                  <a:pt x="6044433" y="349262"/>
                  <a:pt x="6121240" y="368488"/>
                </a:cubicBezTo>
                <a:cubicBezTo>
                  <a:pt x="6207648" y="381305"/>
                  <a:pt x="6287654" y="406939"/>
                  <a:pt x="6370862" y="432573"/>
                </a:cubicBezTo>
                <a:cubicBezTo>
                  <a:pt x="6537276" y="480636"/>
                  <a:pt x="6703690" y="538313"/>
                  <a:pt x="6854103" y="628031"/>
                </a:cubicBezTo>
                <a:cubicBezTo>
                  <a:pt x="6892507" y="653665"/>
                  <a:pt x="6930910" y="679299"/>
                  <a:pt x="6966113" y="711342"/>
                </a:cubicBezTo>
                <a:cubicBezTo>
                  <a:pt x="7049320" y="781835"/>
                  <a:pt x="7084523" y="874758"/>
                  <a:pt x="7087723" y="980498"/>
                </a:cubicBezTo>
                <a:cubicBezTo>
                  <a:pt x="7097324" y="1169548"/>
                  <a:pt x="7065321" y="1355394"/>
                  <a:pt x="7020518" y="1541240"/>
                </a:cubicBezTo>
                <a:cubicBezTo>
                  <a:pt x="6927710" y="1951382"/>
                  <a:pt x="6790098" y="2345504"/>
                  <a:pt x="6646085" y="2739625"/>
                </a:cubicBezTo>
                <a:cubicBezTo>
                  <a:pt x="6495672" y="3143359"/>
                  <a:pt x="6329258" y="3540685"/>
                  <a:pt x="6159643" y="3934806"/>
                </a:cubicBezTo>
                <a:cubicBezTo>
                  <a:pt x="6156443" y="3941215"/>
                  <a:pt x="6156443" y="3947623"/>
                  <a:pt x="6153243" y="3954032"/>
                </a:cubicBezTo>
                <a:lnTo>
                  <a:pt x="27915" y="3957236"/>
                </a:lnTo>
                <a:cubicBezTo>
                  <a:pt x="16714" y="3957236"/>
                  <a:pt x="9513" y="3955634"/>
                  <a:pt x="5113" y="3950828"/>
                </a:cubicBezTo>
                <a:lnTo>
                  <a:pt x="0" y="3928987"/>
                </a:lnTo>
                <a:lnTo>
                  <a:pt x="0" y="22408"/>
                </a:lnTo>
                <a:lnTo>
                  <a:pt x="635967" y="6409"/>
                </a:lnTo>
                <a:cubicBezTo>
                  <a:pt x="869587" y="1603"/>
                  <a:pt x="1103207" y="0"/>
                  <a:pt x="1336828" y="0"/>
                </a:cubicBezTo>
                <a:close/>
              </a:path>
            </a:pathLst>
          </a:custGeom>
          <a:gradFill>
            <a:gsLst>
              <a:gs pos="69000">
                <a:schemeClr val="bg2"/>
              </a:gs>
              <a:gs pos="0">
                <a:schemeClr val="accent1"/>
              </a:gs>
              <a:gs pos="94000">
                <a:schemeClr val="accent1">
                  <a:alpha val="60000"/>
                </a:schemeClr>
              </a:gs>
            </a:gsLst>
            <a:lin ang="0" scaled="0"/>
          </a:gradFill>
        </p:spPr>
        <p:txBody>
          <a:bodyPr wrap="square" lIns="504000" tIns="720000" rIns="468000">
            <a:noAutofit/>
          </a:bodyPr>
          <a:lstStyle>
            <a:lvl1pPr>
              <a:defRPr sz="4000">
                <a:solidFill>
                  <a:schemeClr val="bg1"/>
                </a:solidFill>
              </a:defRPr>
            </a:lvl1pPr>
          </a:lstStyle>
          <a:p>
            <a:r>
              <a:rPr lang="de-DE"/>
              <a:t>Titelmasterformat durch Klicken bearbeiten</a:t>
            </a:r>
          </a:p>
        </p:txBody>
      </p:sp>
      <p:sp>
        <p:nvSpPr>
          <p:cNvPr id="6" name="Textplatzhalter 9"/>
          <p:cNvSpPr>
            <a:spLocks noGrp="1"/>
          </p:cNvSpPr>
          <p:nvPr>
            <p:ph type="body" sz="quarter" idx="11" hasCustomPrompt="1"/>
          </p:nvPr>
        </p:nvSpPr>
        <p:spPr bwMode="gray">
          <a:xfrm>
            <a:off x="514800" y="6129300"/>
            <a:ext cx="5509192"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cxnSp>
        <p:nvCxnSpPr>
          <p:cNvPr id="22"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992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Bild + kleiner Layer 02">
    <p:bg>
      <p:bgPr>
        <a:solidFill>
          <a:schemeClr val="bg1"/>
        </a:solidFill>
        <a:effectLst/>
      </p:bgPr>
    </p:bg>
    <p:spTree>
      <p:nvGrpSpPr>
        <p:cNvPr id="1" name=""/>
        <p:cNvGrpSpPr/>
        <p:nvPr/>
      </p:nvGrpSpPr>
      <p:grpSpPr>
        <a:xfrm>
          <a:off x="0" y="0"/>
          <a:ext cx="0" cy="0"/>
          <a:chOff x="0" y="0"/>
          <a:chExt cx="0" cy="0"/>
        </a:xfrm>
      </p:grpSpPr>
      <p:sp>
        <p:nvSpPr>
          <p:cNvPr id="14" name="Bildplatzhalter 13"/>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rgbClr val="E7E7E8"/>
          </a:solidFill>
        </p:spPr>
        <p:txBody>
          <a:bodyPr wrap="square">
            <a:noAutofit/>
          </a:bodyPr>
          <a:lstStyle/>
          <a:p>
            <a:r>
              <a:rPr lang="de-DE"/>
              <a:t>Bild durch Klicken auf Symbol hinzufügen</a:t>
            </a:r>
          </a:p>
        </p:txBody>
      </p:sp>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457946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Folie" r:id="rId4" imgW="270" imgH="270" progId="TCLayout.ActiveDocument.1">
                  <p:embed/>
                </p:oleObj>
              </mc:Choice>
              <mc:Fallback>
                <p:oleObj name="think-cell Folie" r:id="rId4" imgW="270" imgH="270" progId="TCLayout.ActiveDocument.1">
                  <p:embed/>
                  <p:pic>
                    <p:nvPicPr>
                      <p:cNvPr id="15" name="Objek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el 12"/>
          <p:cNvSpPr>
            <a:spLocks noGrp="1"/>
          </p:cNvSpPr>
          <p:nvPr>
            <p:ph type="title"/>
          </p:nvPr>
        </p:nvSpPr>
        <p:spPr>
          <a:xfrm>
            <a:off x="0" y="0"/>
            <a:ext cx="8908537" cy="6234588"/>
          </a:xfrm>
          <a:custGeom>
            <a:avLst/>
            <a:gdLst>
              <a:gd name="connsiteX0" fmla="*/ 31580 w 8908537"/>
              <a:gd name="connsiteY0" fmla="*/ 0 h 6234588"/>
              <a:gd name="connsiteX1" fmla="*/ 7531677 w 8908537"/>
              <a:gd name="connsiteY1" fmla="*/ 0 h 6234588"/>
              <a:gd name="connsiteX2" fmla="*/ 8030631 w 8908537"/>
              <a:gd name="connsiteY2" fmla="*/ 0 h 6234588"/>
              <a:gd name="connsiteX3" fmla="*/ 8403267 w 8908537"/>
              <a:gd name="connsiteY3" fmla="*/ 0 h 6234588"/>
              <a:gd name="connsiteX4" fmla="*/ 8908537 w 8908537"/>
              <a:gd name="connsiteY4" fmla="*/ 0 h 6234588"/>
              <a:gd name="connsiteX5" fmla="*/ 8393793 w 8908537"/>
              <a:gd name="connsiteY5" fmla="*/ 647745 h 6234588"/>
              <a:gd name="connsiteX6" fmla="*/ 7500098 w 8908537"/>
              <a:gd name="connsiteY6" fmla="*/ 1589345 h 6234588"/>
              <a:gd name="connsiteX7" fmla="*/ 6470611 w 8908537"/>
              <a:gd name="connsiteY7" fmla="*/ 2562543 h 6234588"/>
              <a:gd name="connsiteX8" fmla="*/ 5463229 w 8908537"/>
              <a:gd name="connsiteY8" fmla="*/ 3447268 h 6234588"/>
              <a:gd name="connsiteX9" fmla="*/ 3934788 w 8908537"/>
              <a:gd name="connsiteY9" fmla="*/ 4676404 h 6234588"/>
              <a:gd name="connsiteX10" fmla="*/ 2504243 w 8908537"/>
              <a:gd name="connsiteY10" fmla="*/ 5671719 h 6234588"/>
              <a:gd name="connsiteX11" fmla="*/ 1635811 w 8908537"/>
              <a:gd name="connsiteY11" fmla="*/ 6126721 h 6234588"/>
              <a:gd name="connsiteX12" fmla="*/ 1288438 w 8908537"/>
              <a:gd name="connsiteY12" fmla="*/ 6227832 h 6234588"/>
              <a:gd name="connsiteX13" fmla="*/ 1105278 w 8908537"/>
              <a:gd name="connsiteY13" fmla="*/ 6224672 h 6234588"/>
              <a:gd name="connsiteX14" fmla="*/ 944223 w 8908537"/>
              <a:gd name="connsiteY14" fmla="*/ 6117241 h 6234588"/>
              <a:gd name="connsiteX15" fmla="*/ 720010 w 8908537"/>
              <a:gd name="connsiteY15" fmla="*/ 5791789 h 6234588"/>
              <a:gd name="connsiteX16" fmla="*/ 344215 w 8908537"/>
              <a:gd name="connsiteY16" fmla="*/ 4935502 h 6234588"/>
              <a:gd name="connsiteX17" fmla="*/ 6316 w 8908537"/>
              <a:gd name="connsiteY17" fmla="*/ 3940186 h 6234588"/>
              <a:gd name="connsiteX18" fmla="*/ 3158 w 8908537"/>
              <a:gd name="connsiteY18" fmla="*/ 3930707 h 6234588"/>
              <a:gd name="connsiteX19" fmla="*/ 3158 w 8908537"/>
              <a:gd name="connsiteY19" fmla="*/ 3867512 h 6234588"/>
              <a:gd name="connsiteX20" fmla="*/ 3158 w 8908537"/>
              <a:gd name="connsiteY20" fmla="*/ 3437789 h 6234588"/>
              <a:gd name="connsiteX21" fmla="*/ 3158 w 8908537"/>
              <a:gd name="connsiteY21" fmla="*/ 3336677 h 6234588"/>
              <a:gd name="connsiteX22" fmla="*/ 3158 w 8908537"/>
              <a:gd name="connsiteY22" fmla="*/ 3109176 h 6234588"/>
              <a:gd name="connsiteX23" fmla="*/ 0 w 8908537"/>
              <a:gd name="connsiteY23" fmla="*/ 28438 h 6234588"/>
              <a:gd name="connsiteX24" fmla="*/ 31580 w 8908537"/>
              <a:gd name="connsiteY24" fmla="*/ 0 h 623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908537" h="6234588">
                <a:moveTo>
                  <a:pt x="31580" y="0"/>
                </a:moveTo>
                <a:cubicBezTo>
                  <a:pt x="2529507" y="0"/>
                  <a:pt x="5030592" y="0"/>
                  <a:pt x="7531677" y="0"/>
                </a:cubicBezTo>
                <a:cubicBezTo>
                  <a:pt x="7695890" y="0"/>
                  <a:pt x="7863260" y="0"/>
                  <a:pt x="8030631" y="0"/>
                </a:cubicBezTo>
                <a:cubicBezTo>
                  <a:pt x="8153791" y="0"/>
                  <a:pt x="8276950" y="0"/>
                  <a:pt x="8403267" y="0"/>
                </a:cubicBezTo>
                <a:cubicBezTo>
                  <a:pt x="8570638" y="0"/>
                  <a:pt x="8738008" y="0"/>
                  <a:pt x="8908537" y="0"/>
                </a:cubicBezTo>
                <a:cubicBezTo>
                  <a:pt x="8753798" y="227501"/>
                  <a:pt x="8576954" y="442363"/>
                  <a:pt x="8393793" y="647745"/>
                </a:cubicBezTo>
                <a:cubicBezTo>
                  <a:pt x="8109579" y="973198"/>
                  <a:pt x="7809576" y="1282851"/>
                  <a:pt x="7500098" y="1589345"/>
                </a:cubicBezTo>
                <a:cubicBezTo>
                  <a:pt x="7165357" y="1921117"/>
                  <a:pt x="6821142" y="2243410"/>
                  <a:pt x="6470611" y="2562543"/>
                </a:cubicBezTo>
                <a:cubicBezTo>
                  <a:pt x="6139028" y="2862717"/>
                  <a:pt x="5804286" y="3159732"/>
                  <a:pt x="5463229" y="3447268"/>
                </a:cubicBezTo>
                <a:cubicBezTo>
                  <a:pt x="4964275" y="3870672"/>
                  <a:pt x="4455848" y="4281437"/>
                  <a:pt x="3934788" y="4676404"/>
                </a:cubicBezTo>
                <a:cubicBezTo>
                  <a:pt x="3470572" y="5027134"/>
                  <a:pt x="3000039" y="5365225"/>
                  <a:pt x="2504243" y="5671719"/>
                </a:cubicBezTo>
                <a:cubicBezTo>
                  <a:pt x="2226345" y="5842345"/>
                  <a:pt x="1942131" y="6006651"/>
                  <a:pt x="1635811" y="6126721"/>
                </a:cubicBezTo>
                <a:cubicBezTo>
                  <a:pt x="1522125" y="6174117"/>
                  <a:pt x="1408440" y="6208874"/>
                  <a:pt x="1288438" y="6227832"/>
                </a:cubicBezTo>
                <a:cubicBezTo>
                  <a:pt x="1228437" y="6237311"/>
                  <a:pt x="1165279" y="6237311"/>
                  <a:pt x="1105278" y="6224672"/>
                </a:cubicBezTo>
                <a:cubicBezTo>
                  <a:pt x="1035803" y="6208874"/>
                  <a:pt x="988434" y="6164637"/>
                  <a:pt x="944223" y="6117241"/>
                </a:cubicBezTo>
                <a:cubicBezTo>
                  <a:pt x="852643" y="6019290"/>
                  <a:pt x="783168" y="5908699"/>
                  <a:pt x="720010" y="5791789"/>
                </a:cubicBezTo>
                <a:cubicBezTo>
                  <a:pt x="571586" y="5516892"/>
                  <a:pt x="454743" y="5229357"/>
                  <a:pt x="344215" y="4935502"/>
                </a:cubicBezTo>
                <a:cubicBezTo>
                  <a:pt x="221056" y="4606890"/>
                  <a:pt x="110528" y="4275118"/>
                  <a:pt x="6316" y="3940186"/>
                </a:cubicBezTo>
                <a:cubicBezTo>
                  <a:pt x="6316" y="3937026"/>
                  <a:pt x="3158" y="3933866"/>
                  <a:pt x="3158" y="3930707"/>
                </a:cubicBezTo>
                <a:cubicBezTo>
                  <a:pt x="3158" y="3908589"/>
                  <a:pt x="3158" y="3889630"/>
                  <a:pt x="3158" y="3867512"/>
                </a:cubicBezTo>
                <a:cubicBezTo>
                  <a:pt x="3158" y="3725324"/>
                  <a:pt x="3158" y="3579976"/>
                  <a:pt x="3158" y="3437789"/>
                </a:cubicBezTo>
                <a:cubicBezTo>
                  <a:pt x="3158" y="3403032"/>
                  <a:pt x="3158" y="3371434"/>
                  <a:pt x="3158" y="3336677"/>
                </a:cubicBezTo>
                <a:cubicBezTo>
                  <a:pt x="3158" y="3260844"/>
                  <a:pt x="3158" y="3185010"/>
                  <a:pt x="3158" y="3109176"/>
                </a:cubicBezTo>
                <a:cubicBezTo>
                  <a:pt x="3158" y="2082264"/>
                  <a:pt x="3158" y="1055351"/>
                  <a:pt x="0" y="28438"/>
                </a:cubicBezTo>
                <a:cubicBezTo>
                  <a:pt x="0" y="3160"/>
                  <a:pt x="6316" y="0"/>
                  <a:pt x="31580" y="0"/>
                </a:cubicBezTo>
                <a:close/>
              </a:path>
            </a:pathLst>
          </a:custGeom>
          <a:solidFill>
            <a:schemeClr val="accent1"/>
          </a:solidFill>
        </p:spPr>
        <p:txBody>
          <a:bodyPr wrap="square" lIns="504000" tIns="792000" rIns="1368000" bIns="1512000">
            <a:noAutofit/>
          </a:bodyPr>
          <a:lstStyle>
            <a:lvl1pPr>
              <a:defRPr sz="4000">
                <a:solidFill>
                  <a:schemeClr val="bg1"/>
                </a:solidFill>
              </a:defRPr>
            </a:lvl1pPr>
          </a:lstStyle>
          <a:p>
            <a:r>
              <a:rPr lang="de-DE"/>
              <a:t>Titelmasterformat durch Klicken bearbeiten</a:t>
            </a:r>
          </a:p>
        </p:txBody>
      </p:sp>
      <p:sp>
        <p:nvSpPr>
          <p:cNvPr id="6" name="Textplatzhalter 9"/>
          <p:cNvSpPr>
            <a:spLocks noGrp="1"/>
          </p:cNvSpPr>
          <p:nvPr>
            <p:ph type="body" sz="quarter" idx="11" hasCustomPrompt="1"/>
          </p:nvPr>
        </p:nvSpPr>
        <p:spPr>
          <a:xfrm>
            <a:off x="514800" y="3717032"/>
            <a:ext cx="4032000"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cxnSp>
        <p:nvCxnSpPr>
          <p:cNvPr id="22"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810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8" name="Titel 7"/>
          <p:cNvSpPr>
            <a:spLocks noGrp="1"/>
          </p:cNvSpPr>
          <p:nvPr>
            <p:ph type="title"/>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wrap="square" lIns="504000" tIns="360000" rIns="504000" bIns="4140000" anchor="b" anchorCtr="0">
            <a:noAutofit/>
          </a:bodyPr>
          <a:lstStyle>
            <a:lvl1pPr>
              <a:defRPr sz="4400">
                <a:solidFill>
                  <a:schemeClr val="bg1"/>
                </a:solidFill>
              </a:defRPr>
            </a:lvl1pPr>
          </a:lstStyle>
          <a:p>
            <a:r>
              <a:rPr lang="de-DE"/>
              <a:t>Titelmasterformat durch Klicken bearbeiten</a:t>
            </a:r>
          </a:p>
        </p:txBody>
      </p:sp>
      <p:cxnSp>
        <p:nvCxnSpPr>
          <p:cNvPr id="30"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0"/>
          </p:nvPr>
        </p:nvSpPr>
        <p:spPr>
          <a:xfrm>
            <a:off x="515938" y="2997371"/>
            <a:ext cx="11160125" cy="369332"/>
          </a:xfrm>
        </p:spPr>
        <p:txBody>
          <a:bodyPr>
            <a:spAutoFit/>
          </a:bodyPr>
          <a:lstStyle>
            <a:lvl1pPr>
              <a:defRPr sz="2400">
                <a:solidFill>
                  <a:schemeClr val="bg1"/>
                </a:solidFill>
              </a:defRPr>
            </a:lvl1pPr>
          </a:lstStyle>
          <a:p>
            <a:pPr lvl="0"/>
            <a:r>
              <a:rPr lang="de-DE"/>
              <a:t>Textmasterformat bearbeiten</a:t>
            </a:r>
          </a:p>
        </p:txBody>
      </p:sp>
      <p:sp>
        <p:nvSpPr>
          <p:cNvPr id="17" name="Textplatzhalter 9"/>
          <p:cNvSpPr>
            <a:spLocks noGrp="1"/>
          </p:cNvSpPr>
          <p:nvPr>
            <p:ph type="body" sz="quarter" idx="11" hasCustomPrompt="1"/>
          </p:nvPr>
        </p:nvSpPr>
        <p:spPr>
          <a:xfrm>
            <a:off x="515937" y="6129300"/>
            <a:ext cx="7092231" cy="360040"/>
          </a:xfrm>
        </p:spPr>
        <p:txBody>
          <a:bodyPr anchor="ctr">
            <a:noAutofit/>
          </a:bodyPr>
          <a:lstStyle>
            <a:lvl1pPr marL="0" indent="0">
              <a:spcBef>
                <a:spcPts val="0"/>
              </a:spcBef>
              <a:defRPr sz="1400">
                <a:solidFill>
                  <a:schemeClr val="bg1"/>
                </a:solidFill>
              </a:defRPr>
            </a:lvl1pPr>
            <a:lvl2pPr marL="0" indent="0">
              <a:spcBef>
                <a:spcPts val="0"/>
              </a:spcBef>
              <a:defRPr sz="1400">
                <a:solidFill>
                  <a:schemeClr val="bg1"/>
                </a:solidFill>
              </a:defRPr>
            </a:lvl2pPr>
            <a:lvl3pPr marL="0" indent="0">
              <a:spcBef>
                <a:spcPts val="0"/>
              </a:spcBef>
              <a:defRPr sz="1400">
                <a:solidFill>
                  <a:schemeClr val="bg1"/>
                </a:solidFill>
              </a:defRPr>
            </a:lvl3pPr>
            <a:lvl4pPr marL="0" indent="0">
              <a:spcBef>
                <a:spcPts val="0"/>
              </a:spcBef>
              <a:defRPr sz="1400">
                <a:solidFill>
                  <a:schemeClr val="bg1"/>
                </a:solidFill>
              </a:defRPr>
            </a:lvl4pPr>
            <a:lvl5pPr marL="0" indent="0">
              <a:spcBef>
                <a:spcPts val="0"/>
              </a:spcBef>
              <a:defRPr sz="1400">
                <a:solidFill>
                  <a:schemeClr val="bg1"/>
                </a:solidFill>
              </a:defRPr>
            </a:lvl5pPr>
          </a:lstStyle>
          <a:p>
            <a:pPr lvl="0"/>
            <a:r>
              <a:rPr lang="de-DE"/>
              <a:t>Ort, Datum einfügen</a:t>
            </a:r>
          </a:p>
        </p:txBody>
      </p:sp>
      <p:pic>
        <p:nvPicPr>
          <p:cNvPr id="18" name="Picture 66" descr="Z:\Kunden\Hermes_V2007\Janas Mastervorlage April 2016\PDFs\Hermes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3554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0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274046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feld 4"/>
          <p:cNvSpPr txBox="1">
            <a:spLocks/>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47833 h 6858000"/>
              <a:gd name="connsiteX3" fmla="*/ 8295149 w 12192000"/>
              <a:gd name="connsiteY3" fmla="*/ 5802973 h 6858000"/>
              <a:gd name="connsiteX4" fmla="*/ 9002047 w 12192000"/>
              <a:gd name="connsiteY4" fmla="*/ 6758698 h 6858000"/>
              <a:gd name="connsiteX5" fmla="*/ 9115852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5147833"/>
                </a:lnTo>
                <a:cubicBezTo>
                  <a:pt x="10618474" y="5287843"/>
                  <a:pt x="8448277" y="5610129"/>
                  <a:pt x="8295149" y="5802973"/>
                </a:cubicBezTo>
                <a:cubicBezTo>
                  <a:pt x="8191193" y="5939350"/>
                  <a:pt x="8497573" y="6306298"/>
                  <a:pt x="9002047" y="6758698"/>
                </a:cubicBezTo>
                <a:lnTo>
                  <a:pt x="9115852" y="6858000"/>
                </a:lnTo>
                <a:lnTo>
                  <a:pt x="0" y="6858000"/>
                </a:lnTo>
                <a:close/>
              </a:path>
            </a:pathLst>
          </a:custGeom>
          <a:solidFill>
            <a:schemeClr val="bg2"/>
          </a:solidFill>
        </p:spPr>
        <p:txBody>
          <a:bodyPr vert="horz" wrap="square" lIns="468000" tIns="792000" rIns="468000" bIns="2340000" rtlCol="0" anchor="t">
            <a:noAutofit/>
          </a:bodyPr>
          <a:lstStyle>
            <a:lvl1pPr algn="l" defTabSz="914400" rtl="0" eaLnBrk="1" latinLnBrk="0" hangingPunct="1">
              <a:lnSpc>
                <a:spcPct val="100000"/>
              </a:lnSpc>
              <a:spcBef>
                <a:spcPct val="0"/>
              </a:spcBef>
              <a:buNone/>
              <a:defRPr sz="4000" kern="1200" baseline="0">
                <a:solidFill>
                  <a:schemeClr val="bg1"/>
                </a:solidFill>
                <a:latin typeface="+mj-lt"/>
                <a:ea typeface="+mj-ea"/>
                <a:cs typeface="+mj-cs"/>
              </a:defRPr>
            </a:lvl1pPr>
          </a:lstStyle>
          <a:p>
            <a:endParaRPr lang="de-DE"/>
          </a:p>
        </p:txBody>
      </p:sp>
      <p:cxnSp>
        <p:nvCxnSpPr>
          <p:cNvPr id="41"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830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0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945640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feld 3"/>
          <p:cNvSpPr txBox="1"/>
          <p:nvPr userDrawn="1"/>
        </p:nvSpPr>
        <p:spPr bwMode="gray">
          <a:xfrm>
            <a:off x="479376" y="391593"/>
            <a:ext cx="1656184" cy="430887"/>
          </a:xfrm>
          <a:prstGeom prst="rect">
            <a:avLst/>
          </a:prstGeom>
        </p:spPr>
        <p:txBody>
          <a:bodyPr vert="horz" lIns="0" tIns="0" rIns="0" bIns="0" rtlCol="0" anchor="t">
            <a:noAutofit/>
          </a:bodyPr>
          <a:lstStyle>
            <a:lvl1pPr>
              <a:lnSpc>
                <a:spcPct val="100000"/>
              </a:lnSpc>
              <a:spcBef>
                <a:spcPct val="0"/>
              </a:spcBef>
              <a:buNone/>
              <a:defRPr sz="2200">
                <a:solidFill>
                  <a:schemeClr val="bg2"/>
                </a:solidFill>
                <a:latin typeface="+mj-lt"/>
                <a:ea typeface="+mj-ea"/>
                <a:cs typeface="+mj-cs"/>
              </a:defRPr>
            </a:lvl1pPr>
          </a:lstStyle>
          <a:p>
            <a:pPr lvl="0"/>
            <a:r>
              <a:rPr lang="de-DE" sz="3200">
                <a:solidFill>
                  <a:schemeClr val="bg2"/>
                </a:solidFill>
              </a:rPr>
              <a:t>Inhalt</a:t>
            </a:r>
          </a:p>
        </p:txBody>
      </p:sp>
      <p:cxnSp>
        <p:nvCxnSpPr>
          <p:cNvPr id="41"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328593" y="6426202"/>
            <a:ext cx="1348026" cy="20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785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Bild">
    <p:bg>
      <p:bgPr>
        <a:solidFill>
          <a:schemeClr val="bg1"/>
        </a:solidFill>
        <a:effectLst/>
      </p:bgPr>
    </p:bg>
    <p:spTree>
      <p:nvGrpSpPr>
        <p:cNvPr id="1" name=""/>
        <p:cNvGrpSpPr/>
        <p:nvPr/>
      </p:nvGrpSpPr>
      <p:grpSpPr>
        <a:xfrm>
          <a:off x="0" y="0"/>
          <a:ext cx="0" cy="0"/>
          <a:chOff x="0" y="0"/>
          <a:chExt cx="0" cy="0"/>
        </a:xfrm>
      </p:grpSpPr>
      <p:sp>
        <p:nvSpPr>
          <p:cNvPr id="4" name="Bildplatzhalter 14"/>
          <p:cNvSpPr>
            <a:spLocks noGrp="1"/>
          </p:cNvSpPr>
          <p:nvPr>
            <p:ph type="pic" sz="quarter" idx="13"/>
          </p:nvPr>
        </p:nvSpPr>
        <p:spPr>
          <a:xfrm>
            <a:off x="4727848" y="0"/>
            <a:ext cx="7469957" cy="6858000"/>
          </a:xfrm>
          <a:custGeom>
            <a:avLst/>
            <a:gdLst>
              <a:gd name="connsiteX0" fmla="*/ 0 w 7469957"/>
              <a:gd name="connsiteY0" fmla="*/ 0 h 6858000"/>
              <a:gd name="connsiteX1" fmla="*/ 7464152 w 7469957"/>
              <a:gd name="connsiteY1" fmla="*/ 0 h 6858000"/>
              <a:gd name="connsiteX2" fmla="*/ 7469957 w 7469957"/>
              <a:gd name="connsiteY2" fmla="*/ 5257431 h 6858000"/>
              <a:gd name="connsiteX3" fmla="*/ 7464152 w 7469957"/>
              <a:gd name="connsiteY3" fmla="*/ 5257994 h 6858000"/>
              <a:gd name="connsiteX4" fmla="*/ 7464152 w 7469957"/>
              <a:gd name="connsiteY4" fmla="*/ 5243259 h 6858000"/>
              <a:gd name="connsiteX5" fmla="*/ 7464152 w 7469957"/>
              <a:gd name="connsiteY5" fmla="*/ 5147833 h 6858000"/>
              <a:gd name="connsiteX6" fmla="*/ 3567301 w 7469957"/>
              <a:gd name="connsiteY6" fmla="*/ 5802973 h 6858000"/>
              <a:gd name="connsiteX7" fmla="*/ 4274199 w 7469957"/>
              <a:gd name="connsiteY7" fmla="*/ 6758698 h 6858000"/>
              <a:gd name="connsiteX8" fmla="*/ 4388004 w 7469957"/>
              <a:gd name="connsiteY8" fmla="*/ 6858000 h 6858000"/>
              <a:gd name="connsiteX9" fmla="*/ 0 w 746995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69957" h="6858000">
                <a:moveTo>
                  <a:pt x="0" y="0"/>
                </a:moveTo>
                <a:lnTo>
                  <a:pt x="7464152" y="0"/>
                </a:lnTo>
                <a:cubicBezTo>
                  <a:pt x="7464152" y="1686195"/>
                  <a:pt x="7469957" y="3571236"/>
                  <a:pt x="7469957" y="5257431"/>
                </a:cubicBezTo>
                <a:lnTo>
                  <a:pt x="7464152" y="5257994"/>
                </a:lnTo>
                <a:lnTo>
                  <a:pt x="7464152" y="5243259"/>
                </a:lnTo>
                <a:cubicBezTo>
                  <a:pt x="7464152" y="5147833"/>
                  <a:pt x="7464152" y="5147833"/>
                  <a:pt x="7464152" y="5147833"/>
                </a:cubicBezTo>
                <a:cubicBezTo>
                  <a:pt x="5890626" y="5287843"/>
                  <a:pt x="3720429" y="5610129"/>
                  <a:pt x="3567301" y="5802973"/>
                </a:cubicBezTo>
                <a:cubicBezTo>
                  <a:pt x="3463345" y="5939350"/>
                  <a:pt x="3769726" y="6306298"/>
                  <a:pt x="4274199" y="6758698"/>
                </a:cubicBezTo>
                <a:lnTo>
                  <a:pt x="4388004" y="6858000"/>
                </a:lnTo>
                <a:lnTo>
                  <a:pt x="0" y="6858000"/>
                </a:lnTo>
                <a:close/>
              </a:path>
            </a:pathLst>
          </a:custGeom>
          <a:solidFill>
            <a:srgbClr val="E7E7E8"/>
          </a:solidFill>
        </p:spPr>
        <p:txBody>
          <a:bodyPr wrap="square">
            <a:noAutofit/>
          </a:bodyPr>
          <a:lstStyle/>
          <a:p>
            <a:r>
              <a:rPr lang="de-DE"/>
              <a:t>Bild durch Klicken auf Symbol hinzufügen</a:t>
            </a:r>
          </a:p>
        </p:txBody>
      </p:sp>
      <p:sp>
        <p:nvSpPr>
          <p:cNvPr id="6" name="Titel 15"/>
          <p:cNvSpPr>
            <a:spLocks noGrp="1"/>
          </p:cNvSpPr>
          <p:nvPr>
            <p:ph type="ctrTitle" hasCustomPrompt="1"/>
          </p:nvPr>
        </p:nvSpPr>
        <p:spPr bwMode="gray">
          <a:xfrm>
            <a:off x="1" y="2382"/>
            <a:ext cx="7330060" cy="6866384"/>
          </a:xfrm>
          <a:custGeom>
            <a:avLst/>
            <a:gdLst>
              <a:gd name="connsiteX0" fmla="*/ 0 w 7328853"/>
              <a:gd name="connsiteY0" fmla="*/ 0 h 6858000"/>
              <a:gd name="connsiteX1" fmla="*/ 38666 w 7328853"/>
              <a:gd name="connsiteY1" fmla="*/ 0 h 6858000"/>
              <a:gd name="connsiteX2" fmla="*/ 155340 w 7328853"/>
              <a:gd name="connsiteY2" fmla="*/ 0 h 6858000"/>
              <a:gd name="connsiteX3" fmla="*/ 155340 w 7328853"/>
              <a:gd name="connsiteY3" fmla="*/ 32 h 6858000"/>
              <a:gd name="connsiteX4" fmla="*/ 4582309 w 7328853"/>
              <a:gd name="connsiteY4" fmla="*/ 1240 h 6858000"/>
              <a:gd name="connsiteX5" fmla="*/ 4690137 w 7328853"/>
              <a:gd name="connsiteY5" fmla="*/ 1240 h 6858000"/>
              <a:gd name="connsiteX6" fmla="*/ 4759543 w 7328853"/>
              <a:gd name="connsiteY6" fmla="*/ 1240 h 6858000"/>
              <a:gd name="connsiteX7" fmla="*/ 4823992 w 7328853"/>
              <a:gd name="connsiteY7" fmla="*/ 1240 h 6858000"/>
              <a:gd name="connsiteX8" fmla="*/ 4956608 w 7328853"/>
              <a:gd name="connsiteY8" fmla="*/ 1240 h 6858000"/>
              <a:gd name="connsiteX9" fmla="*/ 5070633 w 7328853"/>
              <a:gd name="connsiteY9" fmla="*/ 1240 h 6858000"/>
              <a:gd name="connsiteX10" fmla="*/ 5184658 w 7328853"/>
              <a:gd name="connsiteY10" fmla="*/ 1240 h 6858000"/>
              <a:gd name="connsiteX11" fmla="*/ 5261501 w 7328853"/>
              <a:gd name="connsiteY11" fmla="*/ 1240 h 6858000"/>
              <a:gd name="connsiteX12" fmla="*/ 5361892 w 7328853"/>
              <a:gd name="connsiteY12" fmla="*/ 1240 h 6858000"/>
              <a:gd name="connsiteX13" fmla="*/ 5406511 w 7328853"/>
              <a:gd name="connsiteY13" fmla="*/ 1240 h 6858000"/>
              <a:gd name="connsiteX14" fmla="*/ 5508141 w 7328853"/>
              <a:gd name="connsiteY14" fmla="*/ 1240 h 6858000"/>
              <a:gd name="connsiteX15" fmla="*/ 5756021 w 7328853"/>
              <a:gd name="connsiteY15" fmla="*/ 1240 h 6858000"/>
              <a:gd name="connsiteX16" fmla="*/ 5894834 w 7328853"/>
              <a:gd name="connsiteY16" fmla="*/ 1240 h 6858000"/>
              <a:gd name="connsiteX17" fmla="*/ 6085702 w 7328853"/>
              <a:gd name="connsiteY17" fmla="*/ 39670 h 6858000"/>
              <a:gd name="connsiteX18" fmla="*/ 6181136 w 7328853"/>
              <a:gd name="connsiteY18" fmla="*/ 59505 h 6858000"/>
              <a:gd name="connsiteX19" fmla="*/ 6484789 w 7328853"/>
              <a:gd name="connsiteY19" fmla="*/ 128928 h 6858000"/>
              <a:gd name="connsiteX20" fmla="*/ 6606250 w 7328853"/>
              <a:gd name="connsiteY20" fmla="*/ 163640 h 6858000"/>
              <a:gd name="connsiteX21" fmla="*/ 6877679 w 7328853"/>
              <a:gd name="connsiteY21" fmla="*/ 256617 h 6858000"/>
              <a:gd name="connsiteX22" fmla="*/ 7167699 w 7328853"/>
              <a:gd name="connsiteY22" fmla="*/ 409100 h 6858000"/>
              <a:gd name="connsiteX23" fmla="*/ 7328821 w 7328853"/>
              <a:gd name="connsiteY23" fmla="*/ 732661 h 6858000"/>
              <a:gd name="connsiteX24" fmla="*/ 7249499 w 7328853"/>
              <a:gd name="connsiteY24" fmla="*/ 1315318 h 6858000"/>
              <a:gd name="connsiteX25" fmla="*/ 6824385 w 7328853"/>
              <a:gd name="connsiteY25" fmla="*/ 2616999 h 6858000"/>
              <a:gd name="connsiteX26" fmla="*/ 5899792 w 7328853"/>
              <a:gd name="connsiteY26" fmla="*/ 4748037 h 6858000"/>
              <a:gd name="connsiteX27" fmla="*/ 4868611 w 7328853"/>
              <a:gd name="connsiteY27" fmla="*/ 6824528 h 6858000"/>
              <a:gd name="connsiteX28" fmla="*/ 4822753 w 7328853"/>
              <a:gd name="connsiteY28" fmla="*/ 6851802 h 6858000"/>
              <a:gd name="connsiteX29" fmla="*/ 4525297 w 7328853"/>
              <a:gd name="connsiteY29" fmla="*/ 6850562 h 6858000"/>
              <a:gd name="connsiteX30" fmla="*/ 4372850 w 7328853"/>
              <a:gd name="connsiteY30" fmla="*/ 6850562 h 6858000"/>
              <a:gd name="connsiteX31" fmla="*/ 4322035 w 7328853"/>
              <a:gd name="connsiteY31" fmla="*/ 6850562 h 6858000"/>
              <a:gd name="connsiteX32" fmla="*/ 4227841 w 7328853"/>
              <a:gd name="connsiteY32" fmla="*/ 6850562 h 6858000"/>
              <a:gd name="connsiteX33" fmla="*/ 4144801 w 7328853"/>
              <a:gd name="connsiteY33" fmla="*/ 6850562 h 6858000"/>
              <a:gd name="connsiteX34" fmla="*/ 4075394 w 7328853"/>
              <a:gd name="connsiteY34" fmla="*/ 6850562 h 6858000"/>
              <a:gd name="connsiteX35" fmla="*/ 4036973 w 7328853"/>
              <a:gd name="connsiteY35" fmla="*/ 6850562 h 6858000"/>
              <a:gd name="connsiteX36" fmla="*/ 3967566 w 7328853"/>
              <a:gd name="connsiteY36" fmla="*/ 6850562 h 6858000"/>
              <a:gd name="connsiteX37" fmla="*/ 3859738 w 7328853"/>
              <a:gd name="connsiteY37" fmla="*/ 6850562 h 6858000"/>
              <a:gd name="connsiteX38" fmla="*/ 3782896 w 7328853"/>
              <a:gd name="connsiteY38" fmla="*/ 6850562 h 6858000"/>
              <a:gd name="connsiteX39" fmla="*/ 3682504 w 7328853"/>
              <a:gd name="connsiteY39" fmla="*/ 6850562 h 6858000"/>
              <a:gd name="connsiteX40" fmla="*/ 3564761 w 7328853"/>
              <a:gd name="connsiteY40" fmla="*/ 6850562 h 6858000"/>
              <a:gd name="connsiteX41" fmla="*/ 3559803 w 7328853"/>
              <a:gd name="connsiteY41" fmla="*/ 6854281 h 6858000"/>
              <a:gd name="connsiteX42" fmla="*/ 3523861 w 7328853"/>
              <a:gd name="connsiteY42" fmla="*/ 6854281 h 6858000"/>
              <a:gd name="connsiteX43" fmla="*/ 155340 w 7328853"/>
              <a:gd name="connsiteY43" fmla="*/ 6854281 h 6858000"/>
              <a:gd name="connsiteX44" fmla="*/ 155340 w 7328853"/>
              <a:gd name="connsiteY44" fmla="*/ 6858000 h 6858000"/>
              <a:gd name="connsiteX45" fmla="*/ 0 w 7328853"/>
              <a:gd name="connsiteY45" fmla="*/ 685800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59803 w 7330060"/>
              <a:gd name="connsiteY41" fmla="*/ 6854281 h 6858000"/>
              <a:gd name="connsiteX42" fmla="*/ 3523861 w 7330060"/>
              <a:gd name="connsiteY42" fmla="*/ 6854281 h 6858000"/>
              <a:gd name="connsiteX43" fmla="*/ 155340 w 7330060"/>
              <a:gd name="connsiteY43" fmla="*/ 6854281 h 6858000"/>
              <a:gd name="connsiteX44" fmla="*/ 155340 w 7330060"/>
              <a:gd name="connsiteY44" fmla="*/ 6858000 h 6858000"/>
              <a:gd name="connsiteX45" fmla="*/ 0 w 7330060"/>
              <a:gd name="connsiteY45" fmla="*/ 6858000 h 6858000"/>
              <a:gd name="connsiteX46" fmla="*/ 0 w 7330060"/>
              <a:gd name="connsiteY46"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64761 w 7330060"/>
              <a:gd name="connsiteY40" fmla="*/ 6850562 h 6858000"/>
              <a:gd name="connsiteX41" fmla="*/ 3523861 w 7330060"/>
              <a:gd name="connsiteY41" fmla="*/ 6854281 h 6858000"/>
              <a:gd name="connsiteX42" fmla="*/ 155340 w 7330060"/>
              <a:gd name="connsiteY42" fmla="*/ 6854281 h 6858000"/>
              <a:gd name="connsiteX43" fmla="*/ 155340 w 7330060"/>
              <a:gd name="connsiteY43" fmla="*/ 6858000 h 6858000"/>
              <a:gd name="connsiteX44" fmla="*/ 0 w 7330060"/>
              <a:gd name="connsiteY44" fmla="*/ 6858000 h 6858000"/>
              <a:gd name="connsiteX45" fmla="*/ 0 w 7330060"/>
              <a:gd name="connsiteY4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682504 w 7330060"/>
              <a:gd name="connsiteY39" fmla="*/ 6850562 h 6858000"/>
              <a:gd name="connsiteX40" fmla="*/ 3523861 w 7330060"/>
              <a:gd name="connsiteY40" fmla="*/ 6854281 h 6858000"/>
              <a:gd name="connsiteX41" fmla="*/ 155340 w 7330060"/>
              <a:gd name="connsiteY41" fmla="*/ 6854281 h 6858000"/>
              <a:gd name="connsiteX42" fmla="*/ 155340 w 7330060"/>
              <a:gd name="connsiteY42" fmla="*/ 6858000 h 6858000"/>
              <a:gd name="connsiteX43" fmla="*/ 0 w 7330060"/>
              <a:gd name="connsiteY43" fmla="*/ 6858000 h 6858000"/>
              <a:gd name="connsiteX44" fmla="*/ 0 w 7330060"/>
              <a:gd name="connsiteY44"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782896 w 7330060"/>
              <a:gd name="connsiteY38" fmla="*/ 6850562 h 6858000"/>
              <a:gd name="connsiteX39" fmla="*/ 3523861 w 7330060"/>
              <a:gd name="connsiteY39" fmla="*/ 6854281 h 6858000"/>
              <a:gd name="connsiteX40" fmla="*/ 155340 w 7330060"/>
              <a:gd name="connsiteY40" fmla="*/ 6854281 h 6858000"/>
              <a:gd name="connsiteX41" fmla="*/ 155340 w 7330060"/>
              <a:gd name="connsiteY41" fmla="*/ 6858000 h 6858000"/>
              <a:gd name="connsiteX42" fmla="*/ 0 w 7330060"/>
              <a:gd name="connsiteY42" fmla="*/ 6858000 h 6858000"/>
              <a:gd name="connsiteX43" fmla="*/ 0 w 7330060"/>
              <a:gd name="connsiteY43"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859738 w 7330060"/>
              <a:gd name="connsiteY37" fmla="*/ 6850562 h 6858000"/>
              <a:gd name="connsiteX38" fmla="*/ 3523861 w 7330060"/>
              <a:gd name="connsiteY38" fmla="*/ 6854281 h 6858000"/>
              <a:gd name="connsiteX39" fmla="*/ 155340 w 7330060"/>
              <a:gd name="connsiteY39" fmla="*/ 6854281 h 6858000"/>
              <a:gd name="connsiteX40" fmla="*/ 155340 w 7330060"/>
              <a:gd name="connsiteY40" fmla="*/ 6858000 h 6858000"/>
              <a:gd name="connsiteX41" fmla="*/ 0 w 7330060"/>
              <a:gd name="connsiteY41" fmla="*/ 6858000 h 6858000"/>
              <a:gd name="connsiteX42" fmla="*/ 0 w 7330060"/>
              <a:gd name="connsiteY42"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967566 w 7330060"/>
              <a:gd name="connsiteY36" fmla="*/ 6850562 h 6858000"/>
              <a:gd name="connsiteX37" fmla="*/ 3523861 w 7330060"/>
              <a:gd name="connsiteY37" fmla="*/ 6854281 h 6858000"/>
              <a:gd name="connsiteX38" fmla="*/ 155340 w 7330060"/>
              <a:gd name="connsiteY38" fmla="*/ 6854281 h 6858000"/>
              <a:gd name="connsiteX39" fmla="*/ 155340 w 7330060"/>
              <a:gd name="connsiteY39" fmla="*/ 6858000 h 6858000"/>
              <a:gd name="connsiteX40" fmla="*/ 0 w 7330060"/>
              <a:gd name="connsiteY40" fmla="*/ 6858000 h 6858000"/>
              <a:gd name="connsiteX41" fmla="*/ 0 w 7330060"/>
              <a:gd name="connsiteY41"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4036973 w 7330060"/>
              <a:gd name="connsiteY35" fmla="*/ 6850562 h 6858000"/>
              <a:gd name="connsiteX36" fmla="*/ 3523861 w 7330060"/>
              <a:gd name="connsiteY36" fmla="*/ 6854281 h 6858000"/>
              <a:gd name="connsiteX37" fmla="*/ 155340 w 7330060"/>
              <a:gd name="connsiteY37" fmla="*/ 6854281 h 6858000"/>
              <a:gd name="connsiteX38" fmla="*/ 155340 w 7330060"/>
              <a:gd name="connsiteY38" fmla="*/ 6858000 h 6858000"/>
              <a:gd name="connsiteX39" fmla="*/ 0 w 7330060"/>
              <a:gd name="connsiteY39" fmla="*/ 6858000 h 6858000"/>
              <a:gd name="connsiteX40" fmla="*/ 0 w 7330060"/>
              <a:gd name="connsiteY40"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4075394 w 7330060"/>
              <a:gd name="connsiteY34" fmla="*/ 6850562 h 6858000"/>
              <a:gd name="connsiteX35" fmla="*/ 3523861 w 7330060"/>
              <a:gd name="connsiteY35" fmla="*/ 6854281 h 6858000"/>
              <a:gd name="connsiteX36" fmla="*/ 155340 w 7330060"/>
              <a:gd name="connsiteY36" fmla="*/ 6854281 h 6858000"/>
              <a:gd name="connsiteX37" fmla="*/ 155340 w 7330060"/>
              <a:gd name="connsiteY37" fmla="*/ 6858000 h 6858000"/>
              <a:gd name="connsiteX38" fmla="*/ 0 w 7330060"/>
              <a:gd name="connsiteY38" fmla="*/ 6858000 h 6858000"/>
              <a:gd name="connsiteX39" fmla="*/ 0 w 7330060"/>
              <a:gd name="connsiteY39"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4144801 w 7330060"/>
              <a:gd name="connsiteY33" fmla="*/ 6850562 h 6858000"/>
              <a:gd name="connsiteX34" fmla="*/ 3523861 w 7330060"/>
              <a:gd name="connsiteY34" fmla="*/ 6854281 h 6858000"/>
              <a:gd name="connsiteX35" fmla="*/ 155340 w 7330060"/>
              <a:gd name="connsiteY35" fmla="*/ 6854281 h 6858000"/>
              <a:gd name="connsiteX36" fmla="*/ 155340 w 7330060"/>
              <a:gd name="connsiteY36" fmla="*/ 6858000 h 6858000"/>
              <a:gd name="connsiteX37" fmla="*/ 0 w 7330060"/>
              <a:gd name="connsiteY37" fmla="*/ 6858000 h 6858000"/>
              <a:gd name="connsiteX38" fmla="*/ 0 w 7330060"/>
              <a:gd name="connsiteY38"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4227841 w 7330060"/>
              <a:gd name="connsiteY32" fmla="*/ 6850562 h 6858000"/>
              <a:gd name="connsiteX33" fmla="*/ 3523861 w 7330060"/>
              <a:gd name="connsiteY33" fmla="*/ 6854281 h 6858000"/>
              <a:gd name="connsiteX34" fmla="*/ 155340 w 7330060"/>
              <a:gd name="connsiteY34" fmla="*/ 6854281 h 6858000"/>
              <a:gd name="connsiteX35" fmla="*/ 155340 w 7330060"/>
              <a:gd name="connsiteY35" fmla="*/ 6858000 h 6858000"/>
              <a:gd name="connsiteX36" fmla="*/ 0 w 7330060"/>
              <a:gd name="connsiteY36" fmla="*/ 6858000 h 6858000"/>
              <a:gd name="connsiteX37" fmla="*/ 0 w 7330060"/>
              <a:gd name="connsiteY37"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4322035 w 7330060"/>
              <a:gd name="connsiteY31" fmla="*/ 6850562 h 6858000"/>
              <a:gd name="connsiteX32" fmla="*/ 3523861 w 7330060"/>
              <a:gd name="connsiteY32" fmla="*/ 6854281 h 6858000"/>
              <a:gd name="connsiteX33" fmla="*/ 155340 w 7330060"/>
              <a:gd name="connsiteY33" fmla="*/ 6854281 h 6858000"/>
              <a:gd name="connsiteX34" fmla="*/ 155340 w 7330060"/>
              <a:gd name="connsiteY34" fmla="*/ 6858000 h 6858000"/>
              <a:gd name="connsiteX35" fmla="*/ 0 w 7330060"/>
              <a:gd name="connsiteY35" fmla="*/ 6858000 h 6858000"/>
              <a:gd name="connsiteX36" fmla="*/ 0 w 7330060"/>
              <a:gd name="connsiteY36"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525297 w 7330060"/>
              <a:gd name="connsiteY29" fmla="*/ 6850562 h 6858000"/>
              <a:gd name="connsiteX30" fmla="*/ 4372850 w 7330060"/>
              <a:gd name="connsiteY30" fmla="*/ 6850562 h 6858000"/>
              <a:gd name="connsiteX31" fmla="*/ 3523861 w 7330060"/>
              <a:gd name="connsiteY31" fmla="*/ 6854281 h 6858000"/>
              <a:gd name="connsiteX32" fmla="*/ 155340 w 7330060"/>
              <a:gd name="connsiteY32" fmla="*/ 6854281 h 6858000"/>
              <a:gd name="connsiteX33" fmla="*/ 155340 w 7330060"/>
              <a:gd name="connsiteY33" fmla="*/ 6858000 h 6858000"/>
              <a:gd name="connsiteX34" fmla="*/ 0 w 7330060"/>
              <a:gd name="connsiteY34" fmla="*/ 6858000 h 6858000"/>
              <a:gd name="connsiteX35" fmla="*/ 0 w 7330060"/>
              <a:gd name="connsiteY35"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4372850 w 7330060"/>
              <a:gd name="connsiteY29" fmla="*/ 6850562 h 6858000"/>
              <a:gd name="connsiteX30" fmla="*/ 3523861 w 7330060"/>
              <a:gd name="connsiteY30" fmla="*/ 6854281 h 6858000"/>
              <a:gd name="connsiteX31" fmla="*/ 155340 w 7330060"/>
              <a:gd name="connsiteY31" fmla="*/ 6854281 h 6858000"/>
              <a:gd name="connsiteX32" fmla="*/ 155340 w 7330060"/>
              <a:gd name="connsiteY32" fmla="*/ 6858000 h 6858000"/>
              <a:gd name="connsiteX33" fmla="*/ 0 w 7330060"/>
              <a:gd name="connsiteY33" fmla="*/ 6858000 h 6858000"/>
              <a:gd name="connsiteX34" fmla="*/ 0 w 7330060"/>
              <a:gd name="connsiteY34"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3523861 w 7330060"/>
              <a:gd name="connsiteY29" fmla="*/ 6854281 h 6858000"/>
              <a:gd name="connsiteX30" fmla="*/ 155340 w 7330060"/>
              <a:gd name="connsiteY30" fmla="*/ 6854281 h 6858000"/>
              <a:gd name="connsiteX31" fmla="*/ 155340 w 7330060"/>
              <a:gd name="connsiteY31" fmla="*/ 6858000 h 6858000"/>
              <a:gd name="connsiteX32" fmla="*/ 0 w 7330060"/>
              <a:gd name="connsiteY32" fmla="*/ 6858000 h 6858000"/>
              <a:gd name="connsiteX33" fmla="*/ 0 w 7330060"/>
              <a:gd name="connsiteY33" fmla="*/ 0 h 6858000"/>
              <a:gd name="connsiteX0" fmla="*/ 0 w 7330060"/>
              <a:gd name="connsiteY0" fmla="*/ 0 h 6858000"/>
              <a:gd name="connsiteX1" fmla="*/ 38666 w 7330060"/>
              <a:gd name="connsiteY1" fmla="*/ 0 h 6858000"/>
              <a:gd name="connsiteX2" fmla="*/ 155340 w 7330060"/>
              <a:gd name="connsiteY2" fmla="*/ 0 h 6858000"/>
              <a:gd name="connsiteX3" fmla="*/ 155340 w 7330060"/>
              <a:gd name="connsiteY3" fmla="*/ 32 h 6858000"/>
              <a:gd name="connsiteX4" fmla="*/ 4582309 w 7330060"/>
              <a:gd name="connsiteY4" fmla="*/ 1240 h 6858000"/>
              <a:gd name="connsiteX5" fmla="*/ 4690137 w 7330060"/>
              <a:gd name="connsiteY5" fmla="*/ 1240 h 6858000"/>
              <a:gd name="connsiteX6" fmla="*/ 4759543 w 7330060"/>
              <a:gd name="connsiteY6" fmla="*/ 1240 h 6858000"/>
              <a:gd name="connsiteX7" fmla="*/ 4823992 w 7330060"/>
              <a:gd name="connsiteY7" fmla="*/ 1240 h 6858000"/>
              <a:gd name="connsiteX8" fmla="*/ 4956608 w 7330060"/>
              <a:gd name="connsiteY8" fmla="*/ 1240 h 6858000"/>
              <a:gd name="connsiteX9" fmla="*/ 5070633 w 7330060"/>
              <a:gd name="connsiteY9" fmla="*/ 1240 h 6858000"/>
              <a:gd name="connsiteX10" fmla="*/ 5184658 w 7330060"/>
              <a:gd name="connsiteY10" fmla="*/ 1240 h 6858000"/>
              <a:gd name="connsiteX11" fmla="*/ 5261501 w 7330060"/>
              <a:gd name="connsiteY11" fmla="*/ 1240 h 6858000"/>
              <a:gd name="connsiteX12" fmla="*/ 5361892 w 7330060"/>
              <a:gd name="connsiteY12" fmla="*/ 1240 h 6858000"/>
              <a:gd name="connsiteX13" fmla="*/ 5406511 w 7330060"/>
              <a:gd name="connsiteY13" fmla="*/ 1240 h 6858000"/>
              <a:gd name="connsiteX14" fmla="*/ 5508141 w 7330060"/>
              <a:gd name="connsiteY14" fmla="*/ 1240 h 6858000"/>
              <a:gd name="connsiteX15" fmla="*/ 5756021 w 7330060"/>
              <a:gd name="connsiteY15" fmla="*/ 1240 h 6858000"/>
              <a:gd name="connsiteX16" fmla="*/ 5894834 w 7330060"/>
              <a:gd name="connsiteY16" fmla="*/ 1240 h 6858000"/>
              <a:gd name="connsiteX17" fmla="*/ 6085702 w 7330060"/>
              <a:gd name="connsiteY17" fmla="*/ 39670 h 6858000"/>
              <a:gd name="connsiteX18" fmla="*/ 6181136 w 7330060"/>
              <a:gd name="connsiteY18" fmla="*/ 59505 h 6858000"/>
              <a:gd name="connsiteX19" fmla="*/ 6484789 w 7330060"/>
              <a:gd name="connsiteY19" fmla="*/ 128928 h 6858000"/>
              <a:gd name="connsiteX20" fmla="*/ 6606250 w 7330060"/>
              <a:gd name="connsiteY20" fmla="*/ 163640 h 6858000"/>
              <a:gd name="connsiteX21" fmla="*/ 6877679 w 7330060"/>
              <a:gd name="connsiteY21" fmla="*/ 256617 h 6858000"/>
              <a:gd name="connsiteX22" fmla="*/ 7167699 w 7330060"/>
              <a:gd name="connsiteY22" fmla="*/ 409100 h 6858000"/>
              <a:gd name="connsiteX23" fmla="*/ 7328821 w 7330060"/>
              <a:gd name="connsiteY23" fmla="*/ 732661 h 6858000"/>
              <a:gd name="connsiteX24" fmla="*/ 7249499 w 7330060"/>
              <a:gd name="connsiteY24" fmla="*/ 1315318 h 6858000"/>
              <a:gd name="connsiteX25" fmla="*/ 6824385 w 7330060"/>
              <a:gd name="connsiteY25" fmla="*/ 2616999 h 6858000"/>
              <a:gd name="connsiteX26" fmla="*/ 5899792 w 7330060"/>
              <a:gd name="connsiteY26" fmla="*/ 4748037 h 6858000"/>
              <a:gd name="connsiteX27" fmla="*/ 4868611 w 7330060"/>
              <a:gd name="connsiteY27" fmla="*/ 6824528 h 6858000"/>
              <a:gd name="connsiteX28" fmla="*/ 4835860 w 7330060"/>
              <a:gd name="connsiteY28" fmla="*/ 6858000 h 6858000"/>
              <a:gd name="connsiteX29" fmla="*/ 3523861 w 7330060"/>
              <a:gd name="connsiteY29" fmla="*/ 6854281 h 6858000"/>
              <a:gd name="connsiteX30" fmla="*/ 155340 w 7330060"/>
              <a:gd name="connsiteY30" fmla="*/ 6854281 h 6858000"/>
              <a:gd name="connsiteX31" fmla="*/ 155340 w 7330060"/>
              <a:gd name="connsiteY31" fmla="*/ 6858000 h 6858000"/>
              <a:gd name="connsiteX32" fmla="*/ 0 w 7330060"/>
              <a:gd name="connsiteY32" fmla="*/ 6858000 h 6858000"/>
              <a:gd name="connsiteX33" fmla="*/ 0 w 7330060"/>
              <a:gd name="connsiteY33" fmla="*/ 0 h 6858000"/>
              <a:gd name="connsiteX0" fmla="*/ 0 w 7330060"/>
              <a:gd name="connsiteY0" fmla="*/ 0 h 6862665"/>
              <a:gd name="connsiteX1" fmla="*/ 38666 w 7330060"/>
              <a:gd name="connsiteY1" fmla="*/ 0 h 6862665"/>
              <a:gd name="connsiteX2" fmla="*/ 155340 w 7330060"/>
              <a:gd name="connsiteY2" fmla="*/ 0 h 6862665"/>
              <a:gd name="connsiteX3" fmla="*/ 155340 w 7330060"/>
              <a:gd name="connsiteY3" fmla="*/ 32 h 6862665"/>
              <a:gd name="connsiteX4" fmla="*/ 4582309 w 7330060"/>
              <a:gd name="connsiteY4" fmla="*/ 1240 h 6862665"/>
              <a:gd name="connsiteX5" fmla="*/ 4690137 w 7330060"/>
              <a:gd name="connsiteY5" fmla="*/ 1240 h 6862665"/>
              <a:gd name="connsiteX6" fmla="*/ 4759543 w 7330060"/>
              <a:gd name="connsiteY6" fmla="*/ 1240 h 6862665"/>
              <a:gd name="connsiteX7" fmla="*/ 4823992 w 7330060"/>
              <a:gd name="connsiteY7" fmla="*/ 1240 h 6862665"/>
              <a:gd name="connsiteX8" fmla="*/ 4956608 w 7330060"/>
              <a:gd name="connsiteY8" fmla="*/ 1240 h 6862665"/>
              <a:gd name="connsiteX9" fmla="*/ 5070633 w 7330060"/>
              <a:gd name="connsiteY9" fmla="*/ 1240 h 6862665"/>
              <a:gd name="connsiteX10" fmla="*/ 5184658 w 7330060"/>
              <a:gd name="connsiteY10" fmla="*/ 1240 h 6862665"/>
              <a:gd name="connsiteX11" fmla="*/ 5261501 w 7330060"/>
              <a:gd name="connsiteY11" fmla="*/ 1240 h 6862665"/>
              <a:gd name="connsiteX12" fmla="*/ 5361892 w 7330060"/>
              <a:gd name="connsiteY12" fmla="*/ 1240 h 6862665"/>
              <a:gd name="connsiteX13" fmla="*/ 5406511 w 7330060"/>
              <a:gd name="connsiteY13" fmla="*/ 1240 h 6862665"/>
              <a:gd name="connsiteX14" fmla="*/ 5508141 w 7330060"/>
              <a:gd name="connsiteY14" fmla="*/ 1240 h 6862665"/>
              <a:gd name="connsiteX15" fmla="*/ 5756021 w 7330060"/>
              <a:gd name="connsiteY15" fmla="*/ 1240 h 6862665"/>
              <a:gd name="connsiteX16" fmla="*/ 5894834 w 7330060"/>
              <a:gd name="connsiteY16" fmla="*/ 1240 h 6862665"/>
              <a:gd name="connsiteX17" fmla="*/ 6085702 w 7330060"/>
              <a:gd name="connsiteY17" fmla="*/ 39670 h 6862665"/>
              <a:gd name="connsiteX18" fmla="*/ 6181136 w 7330060"/>
              <a:gd name="connsiteY18" fmla="*/ 59505 h 6862665"/>
              <a:gd name="connsiteX19" fmla="*/ 6484789 w 7330060"/>
              <a:gd name="connsiteY19" fmla="*/ 128928 h 6862665"/>
              <a:gd name="connsiteX20" fmla="*/ 6606250 w 7330060"/>
              <a:gd name="connsiteY20" fmla="*/ 163640 h 6862665"/>
              <a:gd name="connsiteX21" fmla="*/ 6877679 w 7330060"/>
              <a:gd name="connsiteY21" fmla="*/ 256617 h 6862665"/>
              <a:gd name="connsiteX22" fmla="*/ 7167699 w 7330060"/>
              <a:gd name="connsiteY22" fmla="*/ 409100 h 6862665"/>
              <a:gd name="connsiteX23" fmla="*/ 7328821 w 7330060"/>
              <a:gd name="connsiteY23" fmla="*/ 732661 h 6862665"/>
              <a:gd name="connsiteX24" fmla="*/ 7249499 w 7330060"/>
              <a:gd name="connsiteY24" fmla="*/ 1315318 h 6862665"/>
              <a:gd name="connsiteX25" fmla="*/ 6824385 w 7330060"/>
              <a:gd name="connsiteY25" fmla="*/ 2616999 h 6862665"/>
              <a:gd name="connsiteX26" fmla="*/ 5899792 w 7330060"/>
              <a:gd name="connsiteY26" fmla="*/ 4748037 h 6862665"/>
              <a:gd name="connsiteX27" fmla="*/ 4868611 w 7330060"/>
              <a:gd name="connsiteY27" fmla="*/ 6824528 h 6862665"/>
              <a:gd name="connsiteX28" fmla="*/ 4835860 w 7330060"/>
              <a:gd name="connsiteY28" fmla="*/ 6858000 h 6862665"/>
              <a:gd name="connsiteX29" fmla="*/ 3523861 w 7330060"/>
              <a:gd name="connsiteY29" fmla="*/ 6854281 h 6862665"/>
              <a:gd name="connsiteX30" fmla="*/ 155340 w 7330060"/>
              <a:gd name="connsiteY30" fmla="*/ 6854281 h 6862665"/>
              <a:gd name="connsiteX31" fmla="*/ 155340 w 7330060"/>
              <a:gd name="connsiteY31" fmla="*/ 6858000 h 6862665"/>
              <a:gd name="connsiteX32" fmla="*/ 0 w 7330060"/>
              <a:gd name="connsiteY32" fmla="*/ 6858000 h 6862665"/>
              <a:gd name="connsiteX33" fmla="*/ 0 w 7330060"/>
              <a:gd name="connsiteY33" fmla="*/ 0 h 6862665"/>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60 w 7330060"/>
              <a:gd name="connsiteY28" fmla="*/ 6858000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60 w 7330060"/>
              <a:gd name="connsiteY28" fmla="*/ 6858000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155340 w 7330060"/>
              <a:gd name="connsiteY30" fmla="*/ 6854281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263351 w 7330060"/>
              <a:gd name="connsiteY30" fmla="*/ 6857999 h 6866384"/>
              <a:gd name="connsiteX31" fmla="*/ 155340 w 7330060"/>
              <a:gd name="connsiteY31" fmla="*/ 6858000 h 6866384"/>
              <a:gd name="connsiteX32" fmla="*/ 0 w 7330060"/>
              <a:gd name="connsiteY32" fmla="*/ 6858000 h 6866384"/>
              <a:gd name="connsiteX33" fmla="*/ 0 w 7330060"/>
              <a:gd name="connsiteY33"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508141 w 7330060"/>
              <a:gd name="connsiteY14" fmla="*/ 1240 h 6866384"/>
              <a:gd name="connsiteX15" fmla="*/ 5756021 w 7330060"/>
              <a:gd name="connsiteY15" fmla="*/ 1240 h 6866384"/>
              <a:gd name="connsiteX16" fmla="*/ 5894834 w 7330060"/>
              <a:gd name="connsiteY16" fmla="*/ 1240 h 6866384"/>
              <a:gd name="connsiteX17" fmla="*/ 6085702 w 7330060"/>
              <a:gd name="connsiteY17" fmla="*/ 39670 h 6866384"/>
              <a:gd name="connsiteX18" fmla="*/ 6181136 w 7330060"/>
              <a:gd name="connsiteY18" fmla="*/ 59505 h 6866384"/>
              <a:gd name="connsiteX19" fmla="*/ 6484789 w 7330060"/>
              <a:gd name="connsiteY19" fmla="*/ 128928 h 6866384"/>
              <a:gd name="connsiteX20" fmla="*/ 6606250 w 7330060"/>
              <a:gd name="connsiteY20" fmla="*/ 163640 h 6866384"/>
              <a:gd name="connsiteX21" fmla="*/ 6877679 w 7330060"/>
              <a:gd name="connsiteY21" fmla="*/ 256617 h 6866384"/>
              <a:gd name="connsiteX22" fmla="*/ 7167699 w 7330060"/>
              <a:gd name="connsiteY22" fmla="*/ 409100 h 6866384"/>
              <a:gd name="connsiteX23" fmla="*/ 7328821 w 7330060"/>
              <a:gd name="connsiteY23" fmla="*/ 732661 h 6866384"/>
              <a:gd name="connsiteX24" fmla="*/ 7249499 w 7330060"/>
              <a:gd name="connsiteY24" fmla="*/ 1315318 h 6866384"/>
              <a:gd name="connsiteX25" fmla="*/ 6824385 w 7330060"/>
              <a:gd name="connsiteY25" fmla="*/ 2616999 h 6866384"/>
              <a:gd name="connsiteX26" fmla="*/ 5899792 w 7330060"/>
              <a:gd name="connsiteY26" fmla="*/ 4748037 h 6866384"/>
              <a:gd name="connsiteX27" fmla="*/ 4868611 w 7330060"/>
              <a:gd name="connsiteY27" fmla="*/ 6824528 h 6866384"/>
              <a:gd name="connsiteX28" fmla="*/ 4835859 w 7330060"/>
              <a:gd name="connsiteY28" fmla="*/ 6857999 h 6866384"/>
              <a:gd name="connsiteX29" fmla="*/ 3503711 w 7330060"/>
              <a:gd name="connsiteY29" fmla="*/ 6858000 h 6866384"/>
              <a:gd name="connsiteX30" fmla="*/ 155340 w 7330060"/>
              <a:gd name="connsiteY30" fmla="*/ 6858000 h 6866384"/>
              <a:gd name="connsiteX31" fmla="*/ 0 w 7330060"/>
              <a:gd name="connsiteY31" fmla="*/ 6858000 h 6866384"/>
              <a:gd name="connsiteX32" fmla="*/ 0 w 7330060"/>
              <a:gd name="connsiteY32"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406511 w 7330060"/>
              <a:gd name="connsiteY13" fmla="*/ 1240 h 6866384"/>
              <a:gd name="connsiteX14" fmla="*/ 5756021 w 7330060"/>
              <a:gd name="connsiteY14" fmla="*/ 1240 h 6866384"/>
              <a:gd name="connsiteX15" fmla="*/ 5894834 w 7330060"/>
              <a:gd name="connsiteY15" fmla="*/ 1240 h 6866384"/>
              <a:gd name="connsiteX16" fmla="*/ 6085702 w 7330060"/>
              <a:gd name="connsiteY16" fmla="*/ 39670 h 6866384"/>
              <a:gd name="connsiteX17" fmla="*/ 6181136 w 7330060"/>
              <a:gd name="connsiteY17" fmla="*/ 59505 h 6866384"/>
              <a:gd name="connsiteX18" fmla="*/ 6484789 w 7330060"/>
              <a:gd name="connsiteY18" fmla="*/ 128928 h 6866384"/>
              <a:gd name="connsiteX19" fmla="*/ 6606250 w 7330060"/>
              <a:gd name="connsiteY19" fmla="*/ 163640 h 6866384"/>
              <a:gd name="connsiteX20" fmla="*/ 6877679 w 7330060"/>
              <a:gd name="connsiteY20" fmla="*/ 256617 h 6866384"/>
              <a:gd name="connsiteX21" fmla="*/ 7167699 w 7330060"/>
              <a:gd name="connsiteY21" fmla="*/ 409100 h 6866384"/>
              <a:gd name="connsiteX22" fmla="*/ 7328821 w 7330060"/>
              <a:gd name="connsiteY22" fmla="*/ 732661 h 6866384"/>
              <a:gd name="connsiteX23" fmla="*/ 7249499 w 7330060"/>
              <a:gd name="connsiteY23" fmla="*/ 1315318 h 6866384"/>
              <a:gd name="connsiteX24" fmla="*/ 6824385 w 7330060"/>
              <a:gd name="connsiteY24" fmla="*/ 2616999 h 6866384"/>
              <a:gd name="connsiteX25" fmla="*/ 5899792 w 7330060"/>
              <a:gd name="connsiteY25" fmla="*/ 4748037 h 6866384"/>
              <a:gd name="connsiteX26" fmla="*/ 4868611 w 7330060"/>
              <a:gd name="connsiteY26" fmla="*/ 6824528 h 6866384"/>
              <a:gd name="connsiteX27" fmla="*/ 4835859 w 7330060"/>
              <a:gd name="connsiteY27" fmla="*/ 6857999 h 6866384"/>
              <a:gd name="connsiteX28" fmla="*/ 3503711 w 7330060"/>
              <a:gd name="connsiteY28" fmla="*/ 6858000 h 6866384"/>
              <a:gd name="connsiteX29" fmla="*/ 155340 w 7330060"/>
              <a:gd name="connsiteY29" fmla="*/ 6858000 h 6866384"/>
              <a:gd name="connsiteX30" fmla="*/ 0 w 7330060"/>
              <a:gd name="connsiteY30" fmla="*/ 6858000 h 6866384"/>
              <a:gd name="connsiteX31" fmla="*/ 0 w 7330060"/>
              <a:gd name="connsiteY31"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361892 w 7330060"/>
              <a:gd name="connsiteY12" fmla="*/ 1240 h 6866384"/>
              <a:gd name="connsiteX13" fmla="*/ 5756021 w 7330060"/>
              <a:gd name="connsiteY13" fmla="*/ 1240 h 6866384"/>
              <a:gd name="connsiteX14" fmla="*/ 5894834 w 7330060"/>
              <a:gd name="connsiteY14" fmla="*/ 1240 h 6866384"/>
              <a:gd name="connsiteX15" fmla="*/ 6085702 w 7330060"/>
              <a:gd name="connsiteY15" fmla="*/ 39670 h 6866384"/>
              <a:gd name="connsiteX16" fmla="*/ 6181136 w 7330060"/>
              <a:gd name="connsiteY16" fmla="*/ 59505 h 6866384"/>
              <a:gd name="connsiteX17" fmla="*/ 6484789 w 7330060"/>
              <a:gd name="connsiteY17" fmla="*/ 128928 h 6866384"/>
              <a:gd name="connsiteX18" fmla="*/ 6606250 w 7330060"/>
              <a:gd name="connsiteY18" fmla="*/ 163640 h 6866384"/>
              <a:gd name="connsiteX19" fmla="*/ 6877679 w 7330060"/>
              <a:gd name="connsiteY19" fmla="*/ 256617 h 6866384"/>
              <a:gd name="connsiteX20" fmla="*/ 7167699 w 7330060"/>
              <a:gd name="connsiteY20" fmla="*/ 409100 h 6866384"/>
              <a:gd name="connsiteX21" fmla="*/ 7328821 w 7330060"/>
              <a:gd name="connsiteY21" fmla="*/ 732661 h 6866384"/>
              <a:gd name="connsiteX22" fmla="*/ 7249499 w 7330060"/>
              <a:gd name="connsiteY22" fmla="*/ 1315318 h 6866384"/>
              <a:gd name="connsiteX23" fmla="*/ 6824385 w 7330060"/>
              <a:gd name="connsiteY23" fmla="*/ 2616999 h 6866384"/>
              <a:gd name="connsiteX24" fmla="*/ 5899792 w 7330060"/>
              <a:gd name="connsiteY24" fmla="*/ 4748037 h 6866384"/>
              <a:gd name="connsiteX25" fmla="*/ 4868611 w 7330060"/>
              <a:gd name="connsiteY25" fmla="*/ 6824528 h 6866384"/>
              <a:gd name="connsiteX26" fmla="*/ 4835859 w 7330060"/>
              <a:gd name="connsiteY26" fmla="*/ 6857999 h 6866384"/>
              <a:gd name="connsiteX27" fmla="*/ 3503711 w 7330060"/>
              <a:gd name="connsiteY27" fmla="*/ 6858000 h 6866384"/>
              <a:gd name="connsiteX28" fmla="*/ 155340 w 7330060"/>
              <a:gd name="connsiteY28" fmla="*/ 6858000 h 6866384"/>
              <a:gd name="connsiteX29" fmla="*/ 0 w 7330060"/>
              <a:gd name="connsiteY29" fmla="*/ 6858000 h 6866384"/>
              <a:gd name="connsiteX30" fmla="*/ 0 w 7330060"/>
              <a:gd name="connsiteY30"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184658 w 7330060"/>
              <a:gd name="connsiteY10" fmla="*/ 1240 h 6866384"/>
              <a:gd name="connsiteX11" fmla="*/ 5261501 w 7330060"/>
              <a:gd name="connsiteY11" fmla="*/ 1240 h 6866384"/>
              <a:gd name="connsiteX12" fmla="*/ 5756021 w 7330060"/>
              <a:gd name="connsiteY12" fmla="*/ 1240 h 6866384"/>
              <a:gd name="connsiteX13" fmla="*/ 5894834 w 7330060"/>
              <a:gd name="connsiteY13" fmla="*/ 1240 h 6866384"/>
              <a:gd name="connsiteX14" fmla="*/ 6085702 w 7330060"/>
              <a:gd name="connsiteY14" fmla="*/ 39670 h 6866384"/>
              <a:gd name="connsiteX15" fmla="*/ 6181136 w 7330060"/>
              <a:gd name="connsiteY15" fmla="*/ 59505 h 6866384"/>
              <a:gd name="connsiteX16" fmla="*/ 6484789 w 7330060"/>
              <a:gd name="connsiteY16" fmla="*/ 128928 h 6866384"/>
              <a:gd name="connsiteX17" fmla="*/ 6606250 w 7330060"/>
              <a:gd name="connsiteY17" fmla="*/ 163640 h 6866384"/>
              <a:gd name="connsiteX18" fmla="*/ 6877679 w 7330060"/>
              <a:gd name="connsiteY18" fmla="*/ 256617 h 6866384"/>
              <a:gd name="connsiteX19" fmla="*/ 7167699 w 7330060"/>
              <a:gd name="connsiteY19" fmla="*/ 409100 h 6866384"/>
              <a:gd name="connsiteX20" fmla="*/ 7328821 w 7330060"/>
              <a:gd name="connsiteY20" fmla="*/ 732661 h 6866384"/>
              <a:gd name="connsiteX21" fmla="*/ 7249499 w 7330060"/>
              <a:gd name="connsiteY21" fmla="*/ 1315318 h 6866384"/>
              <a:gd name="connsiteX22" fmla="*/ 6824385 w 7330060"/>
              <a:gd name="connsiteY22" fmla="*/ 2616999 h 6866384"/>
              <a:gd name="connsiteX23" fmla="*/ 5899792 w 7330060"/>
              <a:gd name="connsiteY23" fmla="*/ 4748037 h 6866384"/>
              <a:gd name="connsiteX24" fmla="*/ 4868611 w 7330060"/>
              <a:gd name="connsiteY24" fmla="*/ 6824528 h 6866384"/>
              <a:gd name="connsiteX25" fmla="*/ 4835859 w 7330060"/>
              <a:gd name="connsiteY25" fmla="*/ 6857999 h 6866384"/>
              <a:gd name="connsiteX26" fmla="*/ 3503711 w 7330060"/>
              <a:gd name="connsiteY26" fmla="*/ 6858000 h 6866384"/>
              <a:gd name="connsiteX27" fmla="*/ 155340 w 7330060"/>
              <a:gd name="connsiteY27" fmla="*/ 6858000 h 6866384"/>
              <a:gd name="connsiteX28" fmla="*/ 0 w 7330060"/>
              <a:gd name="connsiteY28" fmla="*/ 6858000 h 6866384"/>
              <a:gd name="connsiteX29" fmla="*/ 0 w 7330060"/>
              <a:gd name="connsiteY29"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070633 w 7330060"/>
              <a:gd name="connsiteY9" fmla="*/ 1240 h 6866384"/>
              <a:gd name="connsiteX10" fmla="*/ 5261501 w 7330060"/>
              <a:gd name="connsiteY10" fmla="*/ 1240 h 6866384"/>
              <a:gd name="connsiteX11" fmla="*/ 5756021 w 7330060"/>
              <a:gd name="connsiteY11" fmla="*/ 1240 h 6866384"/>
              <a:gd name="connsiteX12" fmla="*/ 5894834 w 7330060"/>
              <a:gd name="connsiteY12" fmla="*/ 1240 h 6866384"/>
              <a:gd name="connsiteX13" fmla="*/ 6085702 w 7330060"/>
              <a:gd name="connsiteY13" fmla="*/ 39670 h 6866384"/>
              <a:gd name="connsiteX14" fmla="*/ 6181136 w 7330060"/>
              <a:gd name="connsiteY14" fmla="*/ 59505 h 6866384"/>
              <a:gd name="connsiteX15" fmla="*/ 6484789 w 7330060"/>
              <a:gd name="connsiteY15" fmla="*/ 128928 h 6866384"/>
              <a:gd name="connsiteX16" fmla="*/ 6606250 w 7330060"/>
              <a:gd name="connsiteY16" fmla="*/ 163640 h 6866384"/>
              <a:gd name="connsiteX17" fmla="*/ 6877679 w 7330060"/>
              <a:gd name="connsiteY17" fmla="*/ 256617 h 6866384"/>
              <a:gd name="connsiteX18" fmla="*/ 7167699 w 7330060"/>
              <a:gd name="connsiteY18" fmla="*/ 409100 h 6866384"/>
              <a:gd name="connsiteX19" fmla="*/ 7328821 w 7330060"/>
              <a:gd name="connsiteY19" fmla="*/ 732661 h 6866384"/>
              <a:gd name="connsiteX20" fmla="*/ 7249499 w 7330060"/>
              <a:gd name="connsiteY20" fmla="*/ 1315318 h 6866384"/>
              <a:gd name="connsiteX21" fmla="*/ 6824385 w 7330060"/>
              <a:gd name="connsiteY21" fmla="*/ 2616999 h 6866384"/>
              <a:gd name="connsiteX22" fmla="*/ 5899792 w 7330060"/>
              <a:gd name="connsiteY22" fmla="*/ 4748037 h 6866384"/>
              <a:gd name="connsiteX23" fmla="*/ 4868611 w 7330060"/>
              <a:gd name="connsiteY23" fmla="*/ 6824528 h 6866384"/>
              <a:gd name="connsiteX24" fmla="*/ 4835859 w 7330060"/>
              <a:gd name="connsiteY24" fmla="*/ 6857999 h 6866384"/>
              <a:gd name="connsiteX25" fmla="*/ 3503711 w 7330060"/>
              <a:gd name="connsiteY25" fmla="*/ 6858000 h 6866384"/>
              <a:gd name="connsiteX26" fmla="*/ 155340 w 7330060"/>
              <a:gd name="connsiteY26" fmla="*/ 6858000 h 6866384"/>
              <a:gd name="connsiteX27" fmla="*/ 0 w 7330060"/>
              <a:gd name="connsiteY27" fmla="*/ 6858000 h 6866384"/>
              <a:gd name="connsiteX28" fmla="*/ 0 w 7330060"/>
              <a:gd name="connsiteY28"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823992 w 7330060"/>
              <a:gd name="connsiteY7" fmla="*/ 1240 h 6866384"/>
              <a:gd name="connsiteX8" fmla="*/ 4956608 w 7330060"/>
              <a:gd name="connsiteY8" fmla="*/ 1240 h 6866384"/>
              <a:gd name="connsiteX9" fmla="*/ 5261501 w 7330060"/>
              <a:gd name="connsiteY9" fmla="*/ 1240 h 6866384"/>
              <a:gd name="connsiteX10" fmla="*/ 5756021 w 7330060"/>
              <a:gd name="connsiteY10" fmla="*/ 1240 h 6866384"/>
              <a:gd name="connsiteX11" fmla="*/ 5894834 w 7330060"/>
              <a:gd name="connsiteY11" fmla="*/ 1240 h 6866384"/>
              <a:gd name="connsiteX12" fmla="*/ 6085702 w 7330060"/>
              <a:gd name="connsiteY12" fmla="*/ 39670 h 6866384"/>
              <a:gd name="connsiteX13" fmla="*/ 6181136 w 7330060"/>
              <a:gd name="connsiteY13" fmla="*/ 59505 h 6866384"/>
              <a:gd name="connsiteX14" fmla="*/ 6484789 w 7330060"/>
              <a:gd name="connsiteY14" fmla="*/ 128928 h 6866384"/>
              <a:gd name="connsiteX15" fmla="*/ 6606250 w 7330060"/>
              <a:gd name="connsiteY15" fmla="*/ 163640 h 6866384"/>
              <a:gd name="connsiteX16" fmla="*/ 6877679 w 7330060"/>
              <a:gd name="connsiteY16" fmla="*/ 256617 h 6866384"/>
              <a:gd name="connsiteX17" fmla="*/ 7167699 w 7330060"/>
              <a:gd name="connsiteY17" fmla="*/ 409100 h 6866384"/>
              <a:gd name="connsiteX18" fmla="*/ 7328821 w 7330060"/>
              <a:gd name="connsiteY18" fmla="*/ 732661 h 6866384"/>
              <a:gd name="connsiteX19" fmla="*/ 7249499 w 7330060"/>
              <a:gd name="connsiteY19" fmla="*/ 1315318 h 6866384"/>
              <a:gd name="connsiteX20" fmla="*/ 6824385 w 7330060"/>
              <a:gd name="connsiteY20" fmla="*/ 2616999 h 6866384"/>
              <a:gd name="connsiteX21" fmla="*/ 5899792 w 7330060"/>
              <a:gd name="connsiteY21" fmla="*/ 4748037 h 6866384"/>
              <a:gd name="connsiteX22" fmla="*/ 4868611 w 7330060"/>
              <a:gd name="connsiteY22" fmla="*/ 6824528 h 6866384"/>
              <a:gd name="connsiteX23" fmla="*/ 4835859 w 7330060"/>
              <a:gd name="connsiteY23" fmla="*/ 6857999 h 6866384"/>
              <a:gd name="connsiteX24" fmla="*/ 3503711 w 7330060"/>
              <a:gd name="connsiteY24" fmla="*/ 6858000 h 6866384"/>
              <a:gd name="connsiteX25" fmla="*/ 155340 w 7330060"/>
              <a:gd name="connsiteY25" fmla="*/ 6858000 h 6866384"/>
              <a:gd name="connsiteX26" fmla="*/ 0 w 7330060"/>
              <a:gd name="connsiteY26" fmla="*/ 6858000 h 6866384"/>
              <a:gd name="connsiteX27" fmla="*/ 0 w 7330060"/>
              <a:gd name="connsiteY27"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759543 w 7330060"/>
              <a:gd name="connsiteY6" fmla="*/ 1240 h 6866384"/>
              <a:gd name="connsiteX7" fmla="*/ 4956608 w 7330060"/>
              <a:gd name="connsiteY7" fmla="*/ 1240 h 6866384"/>
              <a:gd name="connsiteX8" fmla="*/ 5261501 w 7330060"/>
              <a:gd name="connsiteY8" fmla="*/ 1240 h 6866384"/>
              <a:gd name="connsiteX9" fmla="*/ 5756021 w 7330060"/>
              <a:gd name="connsiteY9" fmla="*/ 1240 h 6866384"/>
              <a:gd name="connsiteX10" fmla="*/ 5894834 w 7330060"/>
              <a:gd name="connsiteY10" fmla="*/ 1240 h 6866384"/>
              <a:gd name="connsiteX11" fmla="*/ 6085702 w 7330060"/>
              <a:gd name="connsiteY11" fmla="*/ 39670 h 6866384"/>
              <a:gd name="connsiteX12" fmla="*/ 6181136 w 7330060"/>
              <a:gd name="connsiteY12" fmla="*/ 59505 h 6866384"/>
              <a:gd name="connsiteX13" fmla="*/ 6484789 w 7330060"/>
              <a:gd name="connsiteY13" fmla="*/ 128928 h 6866384"/>
              <a:gd name="connsiteX14" fmla="*/ 6606250 w 7330060"/>
              <a:gd name="connsiteY14" fmla="*/ 163640 h 6866384"/>
              <a:gd name="connsiteX15" fmla="*/ 6877679 w 7330060"/>
              <a:gd name="connsiteY15" fmla="*/ 256617 h 6866384"/>
              <a:gd name="connsiteX16" fmla="*/ 7167699 w 7330060"/>
              <a:gd name="connsiteY16" fmla="*/ 409100 h 6866384"/>
              <a:gd name="connsiteX17" fmla="*/ 7328821 w 7330060"/>
              <a:gd name="connsiteY17" fmla="*/ 732661 h 6866384"/>
              <a:gd name="connsiteX18" fmla="*/ 7249499 w 7330060"/>
              <a:gd name="connsiteY18" fmla="*/ 1315318 h 6866384"/>
              <a:gd name="connsiteX19" fmla="*/ 6824385 w 7330060"/>
              <a:gd name="connsiteY19" fmla="*/ 2616999 h 6866384"/>
              <a:gd name="connsiteX20" fmla="*/ 5899792 w 7330060"/>
              <a:gd name="connsiteY20" fmla="*/ 4748037 h 6866384"/>
              <a:gd name="connsiteX21" fmla="*/ 4868611 w 7330060"/>
              <a:gd name="connsiteY21" fmla="*/ 6824528 h 6866384"/>
              <a:gd name="connsiteX22" fmla="*/ 4835859 w 7330060"/>
              <a:gd name="connsiteY22" fmla="*/ 6857999 h 6866384"/>
              <a:gd name="connsiteX23" fmla="*/ 3503711 w 7330060"/>
              <a:gd name="connsiteY23" fmla="*/ 6858000 h 6866384"/>
              <a:gd name="connsiteX24" fmla="*/ 155340 w 7330060"/>
              <a:gd name="connsiteY24" fmla="*/ 6858000 h 6866384"/>
              <a:gd name="connsiteX25" fmla="*/ 0 w 7330060"/>
              <a:gd name="connsiteY25" fmla="*/ 6858000 h 6866384"/>
              <a:gd name="connsiteX26" fmla="*/ 0 w 7330060"/>
              <a:gd name="connsiteY26"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690137 w 7330060"/>
              <a:gd name="connsiteY5" fmla="*/ 1240 h 6866384"/>
              <a:gd name="connsiteX6" fmla="*/ 4956608 w 7330060"/>
              <a:gd name="connsiteY6" fmla="*/ 1240 h 6866384"/>
              <a:gd name="connsiteX7" fmla="*/ 5261501 w 7330060"/>
              <a:gd name="connsiteY7" fmla="*/ 1240 h 6866384"/>
              <a:gd name="connsiteX8" fmla="*/ 5756021 w 7330060"/>
              <a:gd name="connsiteY8" fmla="*/ 1240 h 6866384"/>
              <a:gd name="connsiteX9" fmla="*/ 5894834 w 7330060"/>
              <a:gd name="connsiteY9" fmla="*/ 1240 h 6866384"/>
              <a:gd name="connsiteX10" fmla="*/ 6085702 w 7330060"/>
              <a:gd name="connsiteY10" fmla="*/ 39670 h 6866384"/>
              <a:gd name="connsiteX11" fmla="*/ 6181136 w 7330060"/>
              <a:gd name="connsiteY11" fmla="*/ 59505 h 6866384"/>
              <a:gd name="connsiteX12" fmla="*/ 6484789 w 7330060"/>
              <a:gd name="connsiteY12" fmla="*/ 128928 h 6866384"/>
              <a:gd name="connsiteX13" fmla="*/ 6606250 w 7330060"/>
              <a:gd name="connsiteY13" fmla="*/ 163640 h 6866384"/>
              <a:gd name="connsiteX14" fmla="*/ 6877679 w 7330060"/>
              <a:gd name="connsiteY14" fmla="*/ 256617 h 6866384"/>
              <a:gd name="connsiteX15" fmla="*/ 7167699 w 7330060"/>
              <a:gd name="connsiteY15" fmla="*/ 409100 h 6866384"/>
              <a:gd name="connsiteX16" fmla="*/ 7328821 w 7330060"/>
              <a:gd name="connsiteY16" fmla="*/ 732661 h 6866384"/>
              <a:gd name="connsiteX17" fmla="*/ 7249499 w 7330060"/>
              <a:gd name="connsiteY17" fmla="*/ 1315318 h 6866384"/>
              <a:gd name="connsiteX18" fmla="*/ 6824385 w 7330060"/>
              <a:gd name="connsiteY18" fmla="*/ 2616999 h 6866384"/>
              <a:gd name="connsiteX19" fmla="*/ 5899792 w 7330060"/>
              <a:gd name="connsiteY19" fmla="*/ 4748037 h 6866384"/>
              <a:gd name="connsiteX20" fmla="*/ 4868611 w 7330060"/>
              <a:gd name="connsiteY20" fmla="*/ 6824528 h 6866384"/>
              <a:gd name="connsiteX21" fmla="*/ 4835859 w 7330060"/>
              <a:gd name="connsiteY21" fmla="*/ 6857999 h 6866384"/>
              <a:gd name="connsiteX22" fmla="*/ 3503711 w 7330060"/>
              <a:gd name="connsiteY22" fmla="*/ 6858000 h 6866384"/>
              <a:gd name="connsiteX23" fmla="*/ 155340 w 7330060"/>
              <a:gd name="connsiteY23" fmla="*/ 6858000 h 6866384"/>
              <a:gd name="connsiteX24" fmla="*/ 0 w 7330060"/>
              <a:gd name="connsiteY24" fmla="*/ 6858000 h 6866384"/>
              <a:gd name="connsiteX25" fmla="*/ 0 w 7330060"/>
              <a:gd name="connsiteY25"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4956608 w 7330060"/>
              <a:gd name="connsiteY5" fmla="*/ 1240 h 6866384"/>
              <a:gd name="connsiteX6" fmla="*/ 5261501 w 7330060"/>
              <a:gd name="connsiteY6" fmla="*/ 1240 h 6866384"/>
              <a:gd name="connsiteX7" fmla="*/ 5756021 w 7330060"/>
              <a:gd name="connsiteY7" fmla="*/ 1240 h 6866384"/>
              <a:gd name="connsiteX8" fmla="*/ 5894834 w 7330060"/>
              <a:gd name="connsiteY8" fmla="*/ 1240 h 6866384"/>
              <a:gd name="connsiteX9" fmla="*/ 6085702 w 7330060"/>
              <a:gd name="connsiteY9" fmla="*/ 39670 h 6866384"/>
              <a:gd name="connsiteX10" fmla="*/ 6181136 w 7330060"/>
              <a:gd name="connsiteY10" fmla="*/ 59505 h 6866384"/>
              <a:gd name="connsiteX11" fmla="*/ 6484789 w 7330060"/>
              <a:gd name="connsiteY11" fmla="*/ 128928 h 6866384"/>
              <a:gd name="connsiteX12" fmla="*/ 6606250 w 7330060"/>
              <a:gd name="connsiteY12" fmla="*/ 163640 h 6866384"/>
              <a:gd name="connsiteX13" fmla="*/ 6877679 w 7330060"/>
              <a:gd name="connsiteY13" fmla="*/ 256617 h 6866384"/>
              <a:gd name="connsiteX14" fmla="*/ 7167699 w 7330060"/>
              <a:gd name="connsiteY14" fmla="*/ 409100 h 6866384"/>
              <a:gd name="connsiteX15" fmla="*/ 7328821 w 7330060"/>
              <a:gd name="connsiteY15" fmla="*/ 732661 h 6866384"/>
              <a:gd name="connsiteX16" fmla="*/ 7249499 w 7330060"/>
              <a:gd name="connsiteY16" fmla="*/ 1315318 h 6866384"/>
              <a:gd name="connsiteX17" fmla="*/ 6824385 w 7330060"/>
              <a:gd name="connsiteY17" fmla="*/ 2616999 h 6866384"/>
              <a:gd name="connsiteX18" fmla="*/ 5899792 w 7330060"/>
              <a:gd name="connsiteY18" fmla="*/ 4748037 h 6866384"/>
              <a:gd name="connsiteX19" fmla="*/ 4868611 w 7330060"/>
              <a:gd name="connsiteY19" fmla="*/ 6824528 h 6866384"/>
              <a:gd name="connsiteX20" fmla="*/ 4835859 w 7330060"/>
              <a:gd name="connsiteY20" fmla="*/ 6857999 h 6866384"/>
              <a:gd name="connsiteX21" fmla="*/ 3503711 w 7330060"/>
              <a:gd name="connsiteY21" fmla="*/ 6858000 h 6866384"/>
              <a:gd name="connsiteX22" fmla="*/ 155340 w 7330060"/>
              <a:gd name="connsiteY22" fmla="*/ 6858000 h 6866384"/>
              <a:gd name="connsiteX23" fmla="*/ 0 w 7330060"/>
              <a:gd name="connsiteY23" fmla="*/ 6858000 h 6866384"/>
              <a:gd name="connsiteX24" fmla="*/ 0 w 7330060"/>
              <a:gd name="connsiteY24" fmla="*/ 0 h 6866384"/>
              <a:gd name="connsiteX0" fmla="*/ 0 w 7330060"/>
              <a:gd name="connsiteY0" fmla="*/ 0 h 6866384"/>
              <a:gd name="connsiteX1" fmla="*/ 38666 w 7330060"/>
              <a:gd name="connsiteY1" fmla="*/ 0 h 6866384"/>
              <a:gd name="connsiteX2" fmla="*/ 155340 w 7330060"/>
              <a:gd name="connsiteY2" fmla="*/ 0 h 6866384"/>
              <a:gd name="connsiteX3" fmla="*/ 155340 w 7330060"/>
              <a:gd name="connsiteY3" fmla="*/ 32 h 6866384"/>
              <a:gd name="connsiteX4" fmla="*/ 4582309 w 7330060"/>
              <a:gd name="connsiteY4" fmla="*/ 1240 h 6866384"/>
              <a:gd name="connsiteX5" fmla="*/ 5261501 w 7330060"/>
              <a:gd name="connsiteY5" fmla="*/ 1240 h 6866384"/>
              <a:gd name="connsiteX6" fmla="*/ 5756021 w 7330060"/>
              <a:gd name="connsiteY6" fmla="*/ 1240 h 6866384"/>
              <a:gd name="connsiteX7" fmla="*/ 5894834 w 7330060"/>
              <a:gd name="connsiteY7" fmla="*/ 1240 h 6866384"/>
              <a:gd name="connsiteX8" fmla="*/ 6085702 w 7330060"/>
              <a:gd name="connsiteY8" fmla="*/ 39670 h 6866384"/>
              <a:gd name="connsiteX9" fmla="*/ 6181136 w 7330060"/>
              <a:gd name="connsiteY9" fmla="*/ 59505 h 6866384"/>
              <a:gd name="connsiteX10" fmla="*/ 6484789 w 7330060"/>
              <a:gd name="connsiteY10" fmla="*/ 128928 h 6866384"/>
              <a:gd name="connsiteX11" fmla="*/ 6606250 w 7330060"/>
              <a:gd name="connsiteY11" fmla="*/ 163640 h 6866384"/>
              <a:gd name="connsiteX12" fmla="*/ 6877679 w 7330060"/>
              <a:gd name="connsiteY12" fmla="*/ 256617 h 6866384"/>
              <a:gd name="connsiteX13" fmla="*/ 7167699 w 7330060"/>
              <a:gd name="connsiteY13" fmla="*/ 409100 h 6866384"/>
              <a:gd name="connsiteX14" fmla="*/ 7328821 w 7330060"/>
              <a:gd name="connsiteY14" fmla="*/ 732661 h 6866384"/>
              <a:gd name="connsiteX15" fmla="*/ 7249499 w 7330060"/>
              <a:gd name="connsiteY15" fmla="*/ 1315318 h 6866384"/>
              <a:gd name="connsiteX16" fmla="*/ 6824385 w 7330060"/>
              <a:gd name="connsiteY16" fmla="*/ 2616999 h 6866384"/>
              <a:gd name="connsiteX17" fmla="*/ 5899792 w 7330060"/>
              <a:gd name="connsiteY17" fmla="*/ 4748037 h 6866384"/>
              <a:gd name="connsiteX18" fmla="*/ 4868611 w 7330060"/>
              <a:gd name="connsiteY18" fmla="*/ 6824528 h 6866384"/>
              <a:gd name="connsiteX19" fmla="*/ 4835859 w 7330060"/>
              <a:gd name="connsiteY19" fmla="*/ 6857999 h 6866384"/>
              <a:gd name="connsiteX20" fmla="*/ 3503711 w 7330060"/>
              <a:gd name="connsiteY20" fmla="*/ 6858000 h 6866384"/>
              <a:gd name="connsiteX21" fmla="*/ 155340 w 7330060"/>
              <a:gd name="connsiteY21" fmla="*/ 6858000 h 6866384"/>
              <a:gd name="connsiteX22" fmla="*/ 0 w 7330060"/>
              <a:gd name="connsiteY22" fmla="*/ 6858000 h 6866384"/>
              <a:gd name="connsiteX23" fmla="*/ 0 w 7330060"/>
              <a:gd name="connsiteY23" fmla="*/ 0 h 686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30060" h="6866384">
                <a:moveTo>
                  <a:pt x="0" y="0"/>
                </a:moveTo>
                <a:lnTo>
                  <a:pt x="38666" y="0"/>
                </a:lnTo>
                <a:lnTo>
                  <a:pt x="155340" y="0"/>
                </a:lnTo>
                <a:lnTo>
                  <a:pt x="155340" y="32"/>
                </a:lnTo>
                <a:lnTo>
                  <a:pt x="4582309" y="1240"/>
                </a:lnTo>
                <a:lnTo>
                  <a:pt x="5261501" y="1240"/>
                </a:lnTo>
                <a:lnTo>
                  <a:pt x="5756021" y="1240"/>
                </a:lnTo>
                <a:lnTo>
                  <a:pt x="5894834" y="1240"/>
                </a:lnTo>
                <a:cubicBezTo>
                  <a:pt x="5956804" y="19835"/>
                  <a:pt x="6022493" y="24794"/>
                  <a:pt x="6085702" y="39670"/>
                </a:cubicBezTo>
                <a:cubicBezTo>
                  <a:pt x="6116687" y="47109"/>
                  <a:pt x="6148911" y="53307"/>
                  <a:pt x="6181136" y="59505"/>
                </a:cubicBezTo>
                <a:cubicBezTo>
                  <a:pt x="6282767" y="78101"/>
                  <a:pt x="6384398" y="102895"/>
                  <a:pt x="6484789" y="128928"/>
                </a:cubicBezTo>
                <a:cubicBezTo>
                  <a:pt x="6525689" y="138846"/>
                  <a:pt x="6566589" y="148764"/>
                  <a:pt x="6606250" y="163640"/>
                </a:cubicBezTo>
                <a:cubicBezTo>
                  <a:pt x="6699205" y="188434"/>
                  <a:pt x="6789682" y="218187"/>
                  <a:pt x="6877679" y="256617"/>
                </a:cubicBezTo>
                <a:cubicBezTo>
                  <a:pt x="6981789" y="295048"/>
                  <a:pt x="7078462" y="344636"/>
                  <a:pt x="7167699" y="409100"/>
                </a:cubicBezTo>
                <a:cubicBezTo>
                  <a:pt x="7279245" y="489680"/>
                  <a:pt x="7327581" y="597534"/>
                  <a:pt x="7328821" y="732661"/>
                </a:cubicBezTo>
                <a:cubicBezTo>
                  <a:pt x="7330060" y="931012"/>
                  <a:pt x="7295357" y="1124405"/>
                  <a:pt x="7249499" y="1315318"/>
                </a:cubicBezTo>
                <a:cubicBezTo>
                  <a:pt x="7142911" y="1760369"/>
                  <a:pt x="6989225" y="2190544"/>
                  <a:pt x="6824385" y="2616999"/>
                </a:cubicBezTo>
                <a:cubicBezTo>
                  <a:pt x="6545520" y="3340982"/>
                  <a:pt x="6229473" y="4047609"/>
                  <a:pt x="5899792" y="4748037"/>
                </a:cubicBezTo>
                <a:cubicBezTo>
                  <a:pt x="5571351" y="5447226"/>
                  <a:pt x="5225558" y="6138976"/>
                  <a:pt x="4868611" y="6824528"/>
                </a:cubicBezTo>
                <a:cubicBezTo>
                  <a:pt x="4858695" y="6844364"/>
                  <a:pt x="4859407" y="6857999"/>
                  <a:pt x="4835859" y="6857999"/>
                </a:cubicBezTo>
                <a:cubicBezTo>
                  <a:pt x="4295202" y="6863903"/>
                  <a:pt x="4624698" y="6866384"/>
                  <a:pt x="3503711" y="6858000"/>
                </a:cubicBezTo>
                <a:lnTo>
                  <a:pt x="155340" y="6858000"/>
                </a:lnTo>
                <a:lnTo>
                  <a:pt x="0" y="6858000"/>
                </a:lnTo>
                <a:lnTo>
                  <a:pt x="0" y="0"/>
                </a:lnTo>
                <a:close/>
              </a:path>
            </a:pathLst>
          </a:custGeom>
          <a:solidFill>
            <a:schemeClr val="bg2"/>
          </a:solidFill>
        </p:spPr>
        <p:txBody>
          <a:bodyPr wrap="square" lIns="468000" tIns="2340000" rIns="1260000" bIns="1440000" anchor="t">
            <a:noAutofit/>
          </a:bodyPr>
          <a:lstStyle>
            <a:lvl1pPr algn="l">
              <a:defRPr sz="4000" baseline="0">
                <a:solidFill>
                  <a:schemeClr val="bg1"/>
                </a:solidFill>
              </a:defRPr>
            </a:lvl1pPr>
          </a:lstStyle>
          <a:p>
            <a:r>
              <a:rPr lang="de-DE"/>
              <a:t>Kapitelname einfügen</a:t>
            </a:r>
          </a:p>
        </p:txBody>
      </p:sp>
      <p:sp>
        <p:nvSpPr>
          <p:cNvPr id="8" name="Untertitel 2"/>
          <p:cNvSpPr>
            <a:spLocks noGrp="1"/>
          </p:cNvSpPr>
          <p:nvPr>
            <p:ph type="subTitle" idx="1" hasCustomPrompt="1"/>
          </p:nvPr>
        </p:nvSpPr>
        <p:spPr>
          <a:xfrm>
            <a:off x="515380" y="4079298"/>
            <a:ext cx="4860540" cy="307777"/>
          </a:xfrm>
        </p:spPr>
        <p:txBody>
          <a:bodyPr>
            <a:spAutoFit/>
          </a:bodyPr>
          <a:lstStyle>
            <a:lvl1pPr marL="0" indent="0" algn="l">
              <a:spcBef>
                <a:spcPts val="0"/>
              </a:spcBef>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Optional: Untertitel einfügen</a:t>
            </a:r>
          </a:p>
        </p:txBody>
      </p:sp>
      <p:sp>
        <p:nvSpPr>
          <p:cNvPr id="9" name="Textplatzhalter 9"/>
          <p:cNvSpPr>
            <a:spLocks noGrp="1"/>
          </p:cNvSpPr>
          <p:nvPr>
            <p:ph type="body" sz="quarter" idx="12" hasCustomPrompt="1"/>
          </p:nvPr>
        </p:nvSpPr>
        <p:spPr>
          <a:xfrm>
            <a:off x="439200" y="1268934"/>
            <a:ext cx="1551384" cy="1017017"/>
          </a:xfrm>
        </p:spPr>
        <p:txBody>
          <a:bodyPr anchor="b">
            <a:noAutofit/>
          </a:bodyPr>
          <a:lstStyle>
            <a:lvl1pPr marL="0" indent="0" algn="l">
              <a:spcBef>
                <a:spcPts val="0"/>
              </a:spcBef>
              <a:buFont typeface="Arial" panose="020B0604020202020204" pitchFamily="34" charset="0"/>
              <a:buNone/>
              <a:defRPr sz="8000" i="0">
                <a:solidFill>
                  <a:schemeClr val="bg1"/>
                </a:solidFill>
              </a:defRPr>
            </a:lvl1pPr>
            <a:lvl2pPr marL="0" indent="0">
              <a:spcBef>
                <a:spcPts val="0"/>
              </a:spcBef>
              <a:buFont typeface="Arial" panose="020B0604020202020204" pitchFamily="34" charset="0"/>
              <a:buNone/>
              <a:defRPr sz="3200">
                <a:solidFill>
                  <a:schemeClr val="bg1"/>
                </a:solidFill>
              </a:defRPr>
            </a:lvl2pPr>
            <a:lvl3pPr marL="0" indent="0">
              <a:spcBef>
                <a:spcPts val="0"/>
              </a:spcBef>
              <a:buNone/>
              <a:defRPr sz="3200">
                <a:solidFill>
                  <a:schemeClr val="bg1"/>
                </a:solidFill>
              </a:defRPr>
            </a:lvl3pPr>
            <a:lvl4pPr marL="0" indent="0">
              <a:spcBef>
                <a:spcPts val="0"/>
              </a:spcBef>
              <a:buNone/>
              <a:defRPr sz="3200">
                <a:solidFill>
                  <a:schemeClr val="bg1"/>
                </a:solidFill>
              </a:defRPr>
            </a:lvl4pPr>
            <a:lvl5pPr marL="0" indent="0">
              <a:spcBef>
                <a:spcPts val="0"/>
              </a:spcBef>
              <a:buNone/>
              <a:defRPr sz="3200">
                <a:solidFill>
                  <a:schemeClr val="bg1"/>
                </a:solidFill>
              </a:defRPr>
            </a:lvl5pPr>
          </a:lstStyle>
          <a:p>
            <a:pPr lvl="0"/>
            <a:r>
              <a:rPr lang="de-DE"/>
              <a:t>Nr.</a:t>
            </a:r>
          </a:p>
        </p:txBody>
      </p:sp>
      <p:cxnSp>
        <p:nvCxnSpPr>
          <p:cNvPr id="21" name="Gerader Verbinder 8"/>
          <p:cNvCxnSpPr/>
          <p:nvPr userDrawn="1"/>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9"/>
          <p:cNvCxnSpPr/>
          <p:nvPr userDrawn="1"/>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0"/>
          <p:cNvCxnSpPr/>
          <p:nvPr userDrawn="1"/>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1"/>
          <p:cNvCxnSpPr/>
          <p:nvPr userDrawn="1"/>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2"/>
          <p:cNvCxnSpPr/>
          <p:nvPr userDrawn="1"/>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3"/>
          <p:cNvCxnSpPr/>
          <p:nvPr userDrawn="1"/>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4"/>
          <p:cNvCxnSpPr/>
          <p:nvPr userDrawn="1"/>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15"/>
          <p:cNvCxnSpPr/>
          <p:nvPr userDrawn="1"/>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16"/>
          <p:cNvCxnSpPr/>
          <p:nvPr userDrawn="1"/>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17"/>
          <p:cNvCxnSpPr/>
          <p:nvPr userDrawn="1"/>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18"/>
          <p:cNvCxnSpPr/>
          <p:nvPr userDrawn="1"/>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19"/>
          <p:cNvCxnSpPr/>
          <p:nvPr userDrawn="1"/>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66" descr="Z:\Kunden\Hermes_V2007\Janas Mastervorlage April 2016\PDFs\Hermes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4434" y="6006713"/>
            <a:ext cx="2532185" cy="38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3445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 name="Picture 66" descr="Z:\Kunden\Hermes_V2007\Janas Mastervorlage April 2016\PDFs\Hermes_Logo.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0328593" y="6426202"/>
            <a:ext cx="1348026" cy="20715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kt 7" hidden="1"/>
          <p:cNvGraphicFramePr>
            <a:graphicFrameLocks noChangeAspect="1"/>
          </p:cNvGraphicFramePr>
          <p:nvPr>
            <p:custDataLst>
              <p:tags r:id="rId35"/>
            </p:custDataLst>
            <p:extLst>
              <p:ext uri="{D42A27DB-BD31-4B8C-83A1-F6EECF244321}">
                <p14:modId xmlns:p14="http://schemas.microsoft.com/office/powerpoint/2010/main" val="126757619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37" imgW="270" imgH="270" progId="TCLayout.ActiveDocument.1">
                  <p:embed/>
                </p:oleObj>
              </mc:Choice>
              <mc:Fallback>
                <p:oleObj name="think-cell Folie" r:id="rId37" imgW="270" imgH="270" progId="TCLayout.ActiveDocument.1">
                  <p:embed/>
                  <p:pic>
                    <p:nvPicPr>
                      <p:cNvPr id="8" name="Objekt 7"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bwMode="gray">
          <a:xfrm>
            <a:off x="515378" y="404744"/>
            <a:ext cx="11161241" cy="720000"/>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515378" y="1520825"/>
            <a:ext cx="11161240" cy="4608513"/>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4"/>
          </p:nvPr>
        </p:nvSpPr>
        <p:spPr bwMode="gray">
          <a:xfrm>
            <a:off x="515378" y="6480000"/>
            <a:ext cx="1332148" cy="180000"/>
          </a:xfrm>
          <a:prstGeom prst="rect">
            <a:avLst/>
          </a:prstGeom>
        </p:spPr>
        <p:txBody>
          <a:bodyPr vert="horz" lIns="0" tIns="0" rIns="0" bIns="0" rtlCol="0" anchor="ctr"/>
          <a:lstStyle>
            <a:lvl1pPr algn="l">
              <a:lnSpc>
                <a:spcPct val="100000"/>
              </a:lnSpc>
              <a:defRPr sz="1000">
                <a:solidFill>
                  <a:schemeClr val="tx1"/>
                </a:solidFill>
              </a:defRPr>
            </a:lvl1pPr>
          </a:lstStyle>
          <a:p>
            <a:fld id="{D45191E9-993A-4B71-A5D0-51B0F1A4B1BB}" type="slidenum">
              <a:rPr lang="de-DE" smtClean="0"/>
              <a:pPr/>
              <a:t>‹Nr.›</a:t>
            </a:fld>
            <a:endParaRPr lang="de-DE"/>
          </a:p>
        </p:txBody>
      </p:sp>
      <p:cxnSp>
        <p:nvCxnSpPr>
          <p:cNvPr id="9" name="Gerader Verbinder 8"/>
          <p:cNvCxnSpPr/>
          <p:nvPr/>
        </p:nvCxnSpPr>
        <p:spPr>
          <a:xfrm flipV="1">
            <a:off x="51538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flipV="1">
            <a:off x="6023992"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flipV="1">
            <a:off x="6168008"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flipV="1">
            <a:off x="11676620" y="-243408"/>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rot="16200000" flipV="1">
            <a:off x="12329002"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rot="16200000" flipV="1">
            <a:off x="12329002"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rot="16200000" flipV="1">
            <a:off x="-209010" y="1453090"/>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rot="16200000" flipV="1">
            <a:off x="-209010" y="6019603"/>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flipV="1">
            <a:off x="51538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flipV="1">
            <a:off x="6023992"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V="1">
            <a:off x="6168008"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11676620" y="6894004"/>
            <a:ext cx="0" cy="2074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246071"/>
      </p:ext>
    </p:extLst>
  </p:cSld>
  <p:clrMap bg1="lt1" tx1="dk1" bg2="lt2" tx2="dk2" accent1="accent1" accent2="accent2" accent3="accent3" accent4="accent4" accent5="accent5" accent6="accent6" hlink="hlink" folHlink="folHlink"/>
  <p:sldLayoutIdLst>
    <p:sldLayoutId id="2147483657" r:id="rId1"/>
    <p:sldLayoutId id="2147483649" r:id="rId2"/>
    <p:sldLayoutId id="2147483656" r:id="rId3"/>
    <p:sldLayoutId id="2147483660" r:id="rId4"/>
    <p:sldLayoutId id="2147483661" r:id="rId5"/>
    <p:sldLayoutId id="2147483659" r:id="rId6"/>
    <p:sldLayoutId id="2147483662" r:id="rId7"/>
    <p:sldLayoutId id="2147483683" r:id="rId8"/>
    <p:sldLayoutId id="2147483673" r:id="rId9"/>
    <p:sldLayoutId id="2147483674" r:id="rId10"/>
    <p:sldLayoutId id="2147483684" r:id="rId11"/>
    <p:sldLayoutId id="2147483650" r:id="rId12"/>
    <p:sldLayoutId id="214748365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54" r:id="rId23"/>
    <p:sldLayoutId id="2147483655" r:id="rId24"/>
    <p:sldLayoutId id="2147483678" r:id="rId25"/>
    <p:sldLayoutId id="2147483680" r:id="rId26"/>
    <p:sldLayoutId id="2147483672" r:id="rId27"/>
    <p:sldLayoutId id="2147483681" r:id="rId28"/>
    <p:sldLayoutId id="2147483682" r:id="rId29"/>
    <p:sldLayoutId id="2147483675" r:id="rId30"/>
    <p:sldLayoutId id="2147483676" r:id="rId31"/>
    <p:sldLayoutId id="2147483685" r:id="rId32"/>
  </p:sldLayoutIdLst>
  <p:hf hdr="0" ftr="0" dt="0"/>
  <p:txStyles>
    <p:titleStyle>
      <a:lvl1pPr algn="l" defTabSz="914400" rtl="0" eaLnBrk="1" latinLnBrk="0" hangingPunct="1">
        <a:lnSpc>
          <a:spcPct val="100000"/>
        </a:lnSpc>
        <a:spcBef>
          <a:spcPct val="0"/>
        </a:spcBef>
        <a:buNone/>
        <a:defRPr sz="220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bg2"/>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orient="horz" pos="958" userDrawn="1">
          <p15:clr>
            <a:srgbClr val="F26B43"/>
          </p15:clr>
        </p15:guide>
        <p15:guide id="3" pos="7333" userDrawn="1">
          <p15:clr>
            <a:srgbClr val="F26B43"/>
          </p15:clr>
        </p15:guide>
        <p15:guide id="4" orient="horz" pos="3861" userDrawn="1">
          <p15:clr>
            <a:srgbClr val="F26B43"/>
          </p15:clr>
        </p15:guide>
        <p15:guide id="5" pos="3772" userDrawn="1">
          <p15:clr>
            <a:srgbClr val="F26B43"/>
          </p15:clr>
        </p15:guide>
        <p15:guide id="6" pos="38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2.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l="-16152"/>
          <a:stretch/>
        </p:blipFill>
        <p:spPr>
          <a:xfrm>
            <a:off x="0" y="0"/>
            <a:ext cx="12192000" cy="6858000"/>
          </a:xfrm>
        </p:spPr>
      </p:pic>
      <p:sp>
        <p:nvSpPr>
          <p:cNvPr id="15" name="Untertitel 3"/>
          <p:cNvSpPr>
            <a:spLocks noGrp="1"/>
          </p:cNvSpPr>
          <p:nvPr>
            <p:ph type="subTitle" idx="1"/>
          </p:nvPr>
        </p:nvSpPr>
        <p:spPr>
          <a:xfrm>
            <a:off x="514801" y="3384000"/>
            <a:ext cx="3997024" cy="307777"/>
          </a:xfrm>
        </p:spPr>
        <p:txBody>
          <a:bodyPr/>
          <a:lstStyle/>
          <a:p>
            <a:r>
              <a:rPr lang="de-DE"/>
              <a:t>Januar 2018</a:t>
            </a:r>
          </a:p>
        </p:txBody>
      </p:sp>
      <p:pic>
        <p:nvPicPr>
          <p:cNvPr id="2" name="Grafik 1">
            <a:extLst>
              <a:ext uri="{FF2B5EF4-FFF2-40B4-BE49-F238E27FC236}">
                <a16:creationId xmlns:a16="http://schemas.microsoft.com/office/drawing/2014/main" id="{06474DCD-376C-44BE-A8CA-AC354FEE10B3}"/>
              </a:ext>
            </a:extLst>
          </p:cNvPr>
          <p:cNvPicPr>
            <a:picLocks noChangeAspect="1"/>
          </p:cNvPicPr>
          <p:nvPr/>
        </p:nvPicPr>
        <p:blipFill>
          <a:blip r:embed="rId3"/>
          <a:stretch>
            <a:fillRect/>
          </a:stretch>
        </p:blipFill>
        <p:spPr>
          <a:xfrm>
            <a:off x="2085475" y="7960"/>
            <a:ext cx="10106526" cy="6858000"/>
          </a:xfrm>
          <a:prstGeom prst="rect">
            <a:avLst/>
          </a:prstGeom>
        </p:spPr>
      </p:pic>
      <p:sp>
        <p:nvSpPr>
          <p:cNvPr id="14" name="Titel 1"/>
          <p:cNvSpPr>
            <a:spLocks noGrp="1"/>
          </p:cNvSpPr>
          <p:nvPr>
            <p:ph type="ctrTitle"/>
          </p:nvPr>
        </p:nvSpPr>
        <p:spPr>
          <a:xfrm>
            <a:off x="1" y="2381"/>
            <a:ext cx="6815137" cy="6863579"/>
          </a:xfrm>
        </p:spPr>
        <p:txBody>
          <a:bodyPr/>
          <a:lstStyle/>
          <a:p>
            <a:br>
              <a:rPr lang="de-DE"/>
            </a:br>
            <a:br>
              <a:rPr lang="de-DE"/>
            </a:br>
            <a:br>
              <a:rPr lang="de-DE"/>
            </a:br>
            <a:br>
              <a:rPr lang="de-DE"/>
            </a:br>
            <a:br>
              <a:rPr lang="de-DE"/>
            </a:br>
            <a:br>
              <a:rPr lang="de-DE"/>
            </a:br>
            <a:r>
              <a:rPr lang="de-DE" err="1"/>
              <a:t>DevOps</a:t>
            </a:r>
            <a:r>
              <a:rPr lang="de-DE"/>
              <a:t> Enterprise Summit London</a:t>
            </a:r>
            <a:br>
              <a:rPr lang="de-DE" sz="3200"/>
            </a:br>
            <a:r>
              <a:rPr lang="de-DE" sz="2000"/>
              <a:t>23-25 June, 2020</a:t>
            </a:r>
            <a:endParaRPr lang="de-DE" sz="3200"/>
          </a:p>
        </p:txBody>
      </p:sp>
      <p:sp>
        <p:nvSpPr>
          <p:cNvPr id="10" name="Textplatzhalter 9"/>
          <p:cNvSpPr>
            <a:spLocks noGrp="1"/>
          </p:cNvSpPr>
          <p:nvPr>
            <p:ph type="body" sz="quarter" idx="14"/>
          </p:nvPr>
        </p:nvSpPr>
        <p:spPr/>
        <p:txBody>
          <a:bodyPr/>
          <a:lstStyle/>
          <a:p>
            <a:endParaRPr lang="en-US"/>
          </a:p>
        </p:txBody>
      </p:sp>
      <p:pic>
        <p:nvPicPr>
          <p:cNvPr id="9" name="Picture 116" descr="Z:\Kunden\Hermes_V2007\_Stammdaten\Logo\H_3C_REG.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11554" y="5983482"/>
            <a:ext cx="2592000" cy="441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929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5" name="Textplatzhalter 3">
            <a:extLst>
              <a:ext uri="{FF2B5EF4-FFF2-40B4-BE49-F238E27FC236}">
                <a16:creationId xmlns:a16="http://schemas.microsoft.com/office/drawing/2014/main" id="{4DBCDC2B-F34A-493D-9B3A-75EEEBCA2599}"/>
              </a:ext>
            </a:extLst>
          </p:cNvPr>
          <p:cNvSpPr txBox="1">
            <a:spLocks/>
          </p:cNvSpPr>
          <p:nvPr/>
        </p:nvSpPr>
        <p:spPr bwMode="gray">
          <a:xfrm>
            <a:off x="629100" y="3569875"/>
            <a:ext cx="4674812" cy="1661221"/>
          </a:xfrm>
          <a:prstGeom prst="rect">
            <a:avLst/>
          </a:prstGeom>
          <a:solidFill>
            <a:srgbClr val="0091CD">
              <a:alpha val="89804"/>
            </a:srgbClr>
          </a:solidFill>
          <a:ln w="3175">
            <a:noFill/>
          </a:ln>
        </p:spPr>
        <p:txBody>
          <a:bodyPr vert="horz" wrap="square" lIns="108000" tIns="108000" rIns="108000" bIns="108000" rtlCol="0" anchor="ctr"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bg2"/>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GB" sz="2400" b="1">
                <a:solidFill>
                  <a:schemeClr val="bg1"/>
                </a:solidFill>
                <a:latin typeface="+mj-lt"/>
              </a:rPr>
              <a:t>Lorem ipsum dolore sit.</a:t>
            </a:r>
          </a:p>
        </p:txBody>
      </p:sp>
      <p:sp>
        <p:nvSpPr>
          <p:cNvPr id="6" name="Textplatzhalter 3">
            <a:extLst>
              <a:ext uri="{FF2B5EF4-FFF2-40B4-BE49-F238E27FC236}">
                <a16:creationId xmlns:a16="http://schemas.microsoft.com/office/drawing/2014/main" id="{5C36A009-20BA-450E-AA52-78A5B1982539}"/>
              </a:ext>
            </a:extLst>
          </p:cNvPr>
          <p:cNvSpPr txBox="1">
            <a:spLocks/>
          </p:cNvSpPr>
          <p:nvPr/>
        </p:nvSpPr>
        <p:spPr bwMode="gray">
          <a:xfrm>
            <a:off x="7032104" y="2924944"/>
            <a:ext cx="4674812" cy="2736304"/>
          </a:xfrm>
          <a:prstGeom prst="rect">
            <a:avLst/>
          </a:prstGeom>
          <a:solidFill>
            <a:srgbClr val="0091CD">
              <a:alpha val="89804"/>
            </a:srgbClr>
          </a:solidFill>
          <a:ln w="3175">
            <a:noFill/>
          </a:ln>
        </p:spPr>
        <p:txBody>
          <a:bodyPr vert="horz" wrap="square" lIns="135000" tIns="270000" rIns="135000" bIns="270000" rtlCol="0" anchor="t" anchorCtr="0">
            <a:noAutofit/>
          </a:bodyPr>
          <a:lstStyle>
            <a:lvl1pPr marL="0" indent="0" algn="l" defTabSz="914400" rtl="0" eaLnBrk="1" latinLnBrk="0" hangingPunct="1">
              <a:lnSpc>
                <a:spcPct val="95000"/>
              </a:lnSpc>
              <a:spcBef>
                <a:spcPts val="900"/>
              </a:spcBef>
              <a:buFont typeface="Arial" panose="020B0604020202020204" pitchFamily="34" charset="0"/>
              <a:buNone/>
              <a:defRPr sz="3600" b="1" kern="1200">
                <a:solidFill>
                  <a:schemeClr val="bg1"/>
                </a:solidFill>
                <a:latin typeface="Century Gothic" charset="0"/>
                <a:ea typeface="Century Gothic" charset="0"/>
                <a:cs typeface="Century Gothic" charset="0"/>
              </a:defRPr>
            </a:lvl1pPr>
            <a:lvl2pPr marL="0" indent="0" algn="l" defTabSz="914400" rtl="0" eaLnBrk="1" latinLnBrk="0" hangingPunct="1">
              <a:lnSpc>
                <a:spcPct val="100000"/>
              </a:lnSpc>
              <a:spcBef>
                <a:spcPts val="900"/>
              </a:spcBef>
              <a:buFont typeface="Arial" panose="020B0604020202020204" pitchFamily="34" charset="0"/>
              <a:buNone/>
              <a:defRPr sz="2400" kern="1200" baseline="0">
                <a:solidFill>
                  <a:schemeClr val="bg1"/>
                </a:solidFill>
                <a:latin typeface="Century Gothic" charset="0"/>
                <a:ea typeface="Century Gothic" charset="0"/>
                <a:cs typeface="Century Gothic" charset="0"/>
              </a:defRPr>
            </a:lvl2pPr>
            <a:lvl3pPr marL="538163" indent="0" algn="l" defTabSz="914400" rtl="0" eaLnBrk="1" latinLnBrk="0" hangingPunct="1">
              <a:lnSpc>
                <a:spcPct val="100000"/>
              </a:lnSpc>
              <a:spcBef>
                <a:spcPts val="300"/>
              </a:spcBef>
              <a:buClr>
                <a:schemeClr val="accent4"/>
              </a:buClr>
              <a:buFont typeface="Arial" panose="020B0604020202020204" pitchFamily="34" charset="0"/>
              <a:buNone/>
              <a:defRPr sz="1600" kern="1200">
                <a:solidFill>
                  <a:schemeClr val="bg1"/>
                </a:solidFill>
                <a:latin typeface="Century Gothic" charset="0"/>
                <a:ea typeface="Century Gothic" charset="0"/>
                <a:cs typeface="Century Gothic" charset="0"/>
              </a:defRPr>
            </a:lvl3pPr>
            <a:lvl4pPr marL="801688"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4pPr>
            <a:lvl5pPr marL="1077912"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6922" indent="-136922" defTabSz="685800">
              <a:spcBef>
                <a:spcPts val="675"/>
              </a:spcBef>
              <a:buFont typeface="Arial" panose="020B0604020202020204" pitchFamily="34" charset="0"/>
              <a:buChar char="•"/>
            </a:pPr>
            <a:r>
              <a:rPr lang="en-GB" sz="2000" b="0">
                <a:solidFill>
                  <a:prstClr val="white"/>
                </a:solidFill>
                <a:latin typeface="+mj-lt"/>
              </a:rPr>
              <a:t>Lorem ipsum dolore sit.</a:t>
            </a:r>
          </a:p>
          <a:p>
            <a:pPr marL="136922" indent="-136922" defTabSz="685800">
              <a:spcBef>
                <a:spcPts val="675"/>
              </a:spcBef>
              <a:buFont typeface="Arial" panose="020B0604020202020204" pitchFamily="34" charset="0"/>
              <a:buChar char="•"/>
            </a:pPr>
            <a:endParaRPr lang="en-GB" sz="2000" b="0">
              <a:solidFill>
                <a:prstClr val="white"/>
              </a:solidFill>
              <a:latin typeface="+mj-lt"/>
            </a:endParaRPr>
          </a:p>
        </p:txBody>
      </p:sp>
    </p:spTree>
    <p:extLst>
      <p:ext uri="{BB962C8B-B14F-4D97-AF65-F5344CB8AC3E}">
        <p14:creationId xmlns:p14="http://schemas.microsoft.com/office/powerpoint/2010/main" val="4030836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63408939-91D4-4F0B-ABE7-6015092A52C8}"/>
              </a:ext>
            </a:extLst>
          </p:cNvPr>
          <p:cNvPicPr>
            <a:picLocks noGrp="1" noChangeAspect="1"/>
          </p:cNvPicPr>
          <p:nvPr>
            <p:ph type="pic" sz="quarter" idx="10"/>
          </p:nvPr>
        </p:nvPicPr>
        <p:blipFill>
          <a:blip r:embed="rId3"/>
          <a:srcRect t="7806" b="7806"/>
          <a:stretch>
            <a:fillRect/>
          </a:stretch>
        </p:blipFill>
        <p:spPr/>
      </p:pic>
      <p:sp>
        <p:nvSpPr>
          <p:cNvPr id="5" name="Textplatzhalter 3">
            <a:extLst>
              <a:ext uri="{FF2B5EF4-FFF2-40B4-BE49-F238E27FC236}">
                <a16:creationId xmlns:a16="http://schemas.microsoft.com/office/drawing/2014/main" id="{4DBCDC2B-F34A-493D-9B3A-75EEEBCA2599}"/>
              </a:ext>
            </a:extLst>
          </p:cNvPr>
          <p:cNvSpPr txBox="1">
            <a:spLocks/>
          </p:cNvSpPr>
          <p:nvPr/>
        </p:nvSpPr>
        <p:spPr bwMode="gray">
          <a:xfrm>
            <a:off x="479376" y="3569875"/>
            <a:ext cx="4824536" cy="1661221"/>
          </a:xfrm>
          <a:prstGeom prst="rect">
            <a:avLst/>
          </a:prstGeom>
          <a:solidFill>
            <a:srgbClr val="0091CD">
              <a:alpha val="89804"/>
            </a:srgbClr>
          </a:solidFill>
          <a:ln w="3175">
            <a:noFill/>
          </a:ln>
        </p:spPr>
        <p:txBody>
          <a:bodyPr vert="horz" wrap="square" lIns="108000" tIns="504000" rIns="108000" bIns="135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bg2"/>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4"/>
              </a:buClr>
              <a:buFont typeface="Arial" panose="020B0604020202020204" pitchFamily="34" charset="0"/>
              <a:buChar char="•"/>
              <a:defRPr sz="1400" kern="1200">
                <a:solidFill>
                  <a:schemeClr val="tx1"/>
                </a:solidFill>
                <a:latin typeface="+mn-lt"/>
                <a:ea typeface="+mn-ea"/>
                <a:cs typeface="+mn-cs"/>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GB" sz="2400" b="1">
                <a:solidFill>
                  <a:schemeClr val="bg1"/>
                </a:solidFill>
                <a:latin typeface="+mj-lt"/>
              </a:rPr>
              <a:t>Lorem ipsum dolore sit.</a:t>
            </a:r>
          </a:p>
        </p:txBody>
      </p:sp>
      <p:sp>
        <p:nvSpPr>
          <p:cNvPr id="6" name="Textplatzhalter 3">
            <a:extLst>
              <a:ext uri="{FF2B5EF4-FFF2-40B4-BE49-F238E27FC236}">
                <a16:creationId xmlns:a16="http://schemas.microsoft.com/office/drawing/2014/main" id="{5C36A009-20BA-450E-AA52-78A5B1982539}"/>
              </a:ext>
            </a:extLst>
          </p:cNvPr>
          <p:cNvSpPr txBox="1">
            <a:spLocks/>
          </p:cNvSpPr>
          <p:nvPr/>
        </p:nvSpPr>
        <p:spPr bwMode="gray">
          <a:xfrm>
            <a:off x="6672064" y="2924944"/>
            <a:ext cx="5328592" cy="2736304"/>
          </a:xfrm>
          <a:prstGeom prst="rect">
            <a:avLst/>
          </a:prstGeom>
          <a:solidFill>
            <a:srgbClr val="0091CD">
              <a:alpha val="89804"/>
            </a:srgbClr>
          </a:solidFill>
          <a:ln w="3175">
            <a:noFill/>
          </a:ln>
        </p:spPr>
        <p:txBody>
          <a:bodyPr vert="horz" wrap="square" lIns="135000" tIns="270000" rIns="135000" bIns="270000" rtlCol="0" anchor="t" anchorCtr="0">
            <a:noAutofit/>
          </a:bodyPr>
          <a:lstStyle>
            <a:lvl1pPr marL="0" indent="0" algn="l" defTabSz="914400" rtl="0" eaLnBrk="1" latinLnBrk="0" hangingPunct="1">
              <a:lnSpc>
                <a:spcPct val="95000"/>
              </a:lnSpc>
              <a:spcBef>
                <a:spcPts val="900"/>
              </a:spcBef>
              <a:buFont typeface="Arial" panose="020B0604020202020204" pitchFamily="34" charset="0"/>
              <a:buNone/>
              <a:defRPr sz="3600" b="1" kern="1200">
                <a:solidFill>
                  <a:schemeClr val="bg1"/>
                </a:solidFill>
                <a:latin typeface="Century Gothic" charset="0"/>
                <a:ea typeface="Century Gothic" charset="0"/>
                <a:cs typeface="Century Gothic" charset="0"/>
              </a:defRPr>
            </a:lvl1pPr>
            <a:lvl2pPr marL="0" indent="0" algn="l" defTabSz="914400" rtl="0" eaLnBrk="1" latinLnBrk="0" hangingPunct="1">
              <a:lnSpc>
                <a:spcPct val="100000"/>
              </a:lnSpc>
              <a:spcBef>
                <a:spcPts val="900"/>
              </a:spcBef>
              <a:buFont typeface="Arial" panose="020B0604020202020204" pitchFamily="34" charset="0"/>
              <a:buNone/>
              <a:defRPr sz="2400" kern="1200" baseline="0">
                <a:solidFill>
                  <a:schemeClr val="bg1"/>
                </a:solidFill>
                <a:latin typeface="Century Gothic" charset="0"/>
                <a:ea typeface="Century Gothic" charset="0"/>
                <a:cs typeface="Century Gothic" charset="0"/>
              </a:defRPr>
            </a:lvl2pPr>
            <a:lvl3pPr marL="538163" indent="0" algn="l" defTabSz="914400" rtl="0" eaLnBrk="1" latinLnBrk="0" hangingPunct="1">
              <a:lnSpc>
                <a:spcPct val="100000"/>
              </a:lnSpc>
              <a:spcBef>
                <a:spcPts val="300"/>
              </a:spcBef>
              <a:buClr>
                <a:schemeClr val="accent4"/>
              </a:buClr>
              <a:buFont typeface="Arial" panose="020B0604020202020204" pitchFamily="34" charset="0"/>
              <a:buNone/>
              <a:defRPr sz="1600" kern="1200">
                <a:solidFill>
                  <a:schemeClr val="bg1"/>
                </a:solidFill>
                <a:latin typeface="Century Gothic" charset="0"/>
                <a:ea typeface="Century Gothic" charset="0"/>
                <a:cs typeface="Century Gothic" charset="0"/>
              </a:defRPr>
            </a:lvl3pPr>
            <a:lvl4pPr marL="801688"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4pPr>
            <a:lvl5pPr marL="1077912"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6922" indent="-136922" defTabSz="685800">
              <a:spcBef>
                <a:spcPts val="675"/>
              </a:spcBef>
              <a:buFont typeface="Arial" panose="020B0604020202020204" pitchFamily="34" charset="0"/>
              <a:buChar char="•"/>
            </a:pPr>
            <a:r>
              <a:rPr lang="en-GB" sz="2000" b="0">
                <a:solidFill>
                  <a:prstClr val="white"/>
                </a:solidFill>
                <a:latin typeface="+mj-lt"/>
              </a:rPr>
              <a:t>Lorem ipsum dolore sit.</a:t>
            </a:r>
          </a:p>
        </p:txBody>
      </p:sp>
    </p:spTree>
    <p:extLst>
      <p:ext uri="{BB962C8B-B14F-4D97-AF65-F5344CB8AC3E}">
        <p14:creationId xmlns:p14="http://schemas.microsoft.com/office/powerpoint/2010/main" val="1497689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12</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2 – </a:t>
            </a:r>
            <a:r>
              <a:rPr lang="de-DE" sz="4400" err="1"/>
              <a:t>Our</a:t>
            </a:r>
            <a:r>
              <a:rPr lang="de-DE" sz="4400"/>
              <a:t> </a:t>
            </a:r>
            <a:r>
              <a:rPr lang="de-DE" sz="4400" err="1"/>
              <a:t>starting</a:t>
            </a:r>
            <a:r>
              <a:rPr lang="de-DE" sz="4400"/>
              <a:t> </a:t>
            </a:r>
            <a:r>
              <a:rPr lang="de-DE" sz="4400" err="1"/>
              <a:t>point</a:t>
            </a:r>
            <a:endParaRPr lang="de-DE" sz="4400"/>
          </a:p>
        </p:txBody>
      </p:sp>
      <p:pic>
        <p:nvPicPr>
          <p:cNvPr id="4" name="Grafik 3">
            <a:extLst>
              <a:ext uri="{FF2B5EF4-FFF2-40B4-BE49-F238E27FC236}">
                <a16:creationId xmlns:a16="http://schemas.microsoft.com/office/drawing/2014/main" id="{7E71C7F8-BB75-4DED-A0F6-2151A4307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3563111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Our starting point</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13</a:t>
            </a:fld>
            <a:endParaRPr lang="en-US"/>
          </a:p>
        </p:txBody>
      </p:sp>
      <p:sp>
        <p:nvSpPr>
          <p:cNvPr id="4" name="Textplatzhalter 3">
            <a:extLst>
              <a:ext uri="{FF2B5EF4-FFF2-40B4-BE49-F238E27FC236}">
                <a16:creationId xmlns:a16="http://schemas.microsoft.com/office/drawing/2014/main" id="{AA9A93D3-73F3-4FBA-8A78-B7122772B010}"/>
              </a:ext>
            </a:extLst>
          </p:cNvPr>
          <p:cNvSpPr>
            <a:spLocks noGrp="1"/>
          </p:cNvSpPr>
          <p:nvPr>
            <p:ph type="body" sz="quarter" idx="13"/>
          </p:nvPr>
        </p:nvSpPr>
        <p:spPr/>
        <p:txBody>
          <a:bodyPr/>
          <a:lstStyle/>
          <a:p>
            <a:r>
              <a:rPr lang="en-US" b="1" dirty="0"/>
              <a:t>Company culture</a:t>
            </a:r>
          </a:p>
          <a:p>
            <a:r>
              <a:rPr lang="en-US" dirty="0"/>
              <a:t>Logistics company, traditional thinking, process orientation</a:t>
            </a:r>
          </a:p>
          <a:p>
            <a:r>
              <a:rPr lang="en-US" dirty="0"/>
              <a:t>Optimizing logistics skills first, customer second</a:t>
            </a:r>
          </a:p>
          <a:p>
            <a:r>
              <a:rPr lang="en-US" dirty="0"/>
              <a:t>Example: good transportation of parcels, actual delivery didn‘t meet customers‘ demand</a:t>
            </a:r>
          </a:p>
          <a:p>
            <a:r>
              <a:rPr lang="en-US" dirty="0"/>
              <a:t>Traditional organization set up with strong hierarchical architecture and blue culture</a:t>
            </a:r>
          </a:p>
          <a:p>
            <a:r>
              <a:rPr lang="en-US" dirty="0"/>
              <a:t>Full responsibility for the management and no responsibility for the product </a:t>
            </a:r>
          </a:p>
          <a:p>
            <a:r>
              <a:rPr lang="en-US" dirty="0"/>
              <a:t>No product management in place – weather for logistic product, neither digital products</a:t>
            </a:r>
          </a:p>
          <a:p>
            <a:r>
              <a:rPr lang="en-US" dirty="0"/>
              <a:t>IT und business strictly separated and with a customer &lt;-&gt; service provider relationship</a:t>
            </a:r>
          </a:p>
          <a:p>
            <a:r>
              <a:rPr lang="en-US" b="1" dirty="0"/>
              <a:t>IT culture</a:t>
            </a:r>
          </a:p>
          <a:p>
            <a:r>
              <a:rPr lang="en-US" dirty="0"/>
              <a:t>First attempt to agility in 2011, use Scrum. Unfortunately we left the rest as it was. It took us five years to get rid of steering committees and old style project management</a:t>
            </a:r>
          </a:p>
        </p:txBody>
      </p:sp>
      <p:pic>
        <p:nvPicPr>
          <p:cNvPr id="5" name="Grafik 4">
            <a:extLst>
              <a:ext uri="{FF2B5EF4-FFF2-40B4-BE49-F238E27FC236}">
                <a16:creationId xmlns:a16="http://schemas.microsoft.com/office/drawing/2014/main" id="{D75A33A4-8DA5-47AC-B190-B61622C1B3C8}"/>
              </a:ext>
            </a:extLst>
          </p:cNvPr>
          <p:cNvPicPr>
            <a:picLocks noChangeAspect="1"/>
          </p:cNvPicPr>
          <p:nvPr/>
        </p:nvPicPr>
        <p:blipFill>
          <a:blip r:embed="rId2"/>
          <a:stretch>
            <a:fillRect/>
          </a:stretch>
        </p:blipFill>
        <p:spPr>
          <a:xfrm rot="187048">
            <a:off x="10741068" y="5774211"/>
            <a:ext cx="1201908" cy="926977"/>
          </a:xfrm>
          <a:prstGeom prst="rect">
            <a:avLst/>
          </a:prstGeom>
          <a:ln>
            <a:solidFill>
              <a:schemeClr val="tx1"/>
            </a:solidFill>
          </a:ln>
        </p:spPr>
      </p:pic>
      <p:sp>
        <p:nvSpPr>
          <p:cNvPr id="6" name="Rechteck 5">
            <a:extLst>
              <a:ext uri="{FF2B5EF4-FFF2-40B4-BE49-F238E27FC236}">
                <a16:creationId xmlns:a16="http://schemas.microsoft.com/office/drawing/2014/main" id="{052920E4-5FEA-4861-A1FF-0D37739727F0}"/>
              </a:ext>
            </a:extLst>
          </p:cNvPr>
          <p:cNvSpPr/>
          <p:nvPr/>
        </p:nvSpPr>
        <p:spPr>
          <a:xfrm rot="245631">
            <a:off x="8215327" y="391333"/>
            <a:ext cx="3632433" cy="2177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spcBef>
                <a:spcPts val="300"/>
              </a:spcBef>
            </a:pPr>
            <a:r>
              <a:rPr lang="en-US" sz="1100"/>
              <a:t>Better describe the dark age we are coming from:</a:t>
            </a:r>
          </a:p>
          <a:p>
            <a:pPr marL="285750" lvl="0" indent="-285750">
              <a:buFont typeface="Arial" panose="020B0604020202020204" pitchFamily="34" charset="0"/>
              <a:buChar char="•"/>
            </a:pPr>
            <a:r>
              <a:rPr lang="en-US" sz="1200"/>
              <a:t>Dark age</a:t>
            </a:r>
            <a:endParaRPr lang="en-US" sz="1100"/>
          </a:p>
          <a:p>
            <a:pPr marL="285750" lvl="0" indent="-285750">
              <a:buFont typeface="Arial" panose="020B0604020202020204" pitchFamily="34" charset="0"/>
              <a:buChar char="•"/>
            </a:pPr>
            <a:r>
              <a:rPr lang="en-US" sz="1200"/>
              <a:t>Escape</a:t>
            </a:r>
            <a:endParaRPr lang="en-US" sz="1100"/>
          </a:p>
          <a:p>
            <a:pPr marL="285750" lvl="0" indent="-285750">
              <a:buFont typeface="Arial" panose="020B0604020202020204" pitchFamily="34" charset="0"/>
              <a:buChar char="•"/>
            </a:pPr>
            <a:r>
              <a:rPr lang="en-US" sz="1200"/>
              <a:t>Feature factory</a:t>
            </a:r>
          </a:p>
          <a:p>
            <a:pPr marL="742950" lvl="1" indent="-285750">
              <a:buFont typeface="Arial" panose="020B0604020202020204" pitchFamily="34" charset="0"/>
              <a:buChar char="•"/>
            </a:pPr>
            <a:r>
              <a:rPr lang="en-US" sz="1200"/>
              <a:t>IT as a shared service function</a:t>
            </a:r>
          </a:p>
          <a:p>
            <a:pPr marL="742950" lvl="1" indent="-285750">
              <a:buFont typeface="Arial" panose="020B0604020202020204" pitchFamily="34" charset="0"/>
              <a:buChar char="•"/>
            </a:pPr>
            <a:r>
              <a:rPr lang="en-US" sz="1100"/>
              <a:t>Intra-company offers and billing for IT services</a:t>
            </a:r>
          </a:p>
          <a:p>
            <a:pPr marL="742950" lvl="1" indent="-285750">
              <a:buFont typeface="Arial" panose="020B0604020202020204" pitchFamily="34" charset="0"/>
              <a:buChar char="•"/>
            </a:pPr>
            <a:r>
              <a:rPr lang="en-US" sz="1100"/>
              <a:t>Lots of companies tried this</a:t>
            </a:r>
          </a:p>
          <a:p>
            <a:pPr marL="742950" lvl="1" indent="-285750">
              <a:buFont typeface="Arial" panose="020B0604020202020204" pitchFamily="34" charset="0"/>
              <a:buChar char="•"/>
            </a:pPr>
            <a:r>
              <a:rPr lang="en-US" sz="1200"/>
              <a:t>Cost optimizing structure: Ok for preserving status quo</a:t>
            </a:r>
            <a:endParaRPr lang="en-US" sz="1100"/>
          </a:p>
          <a:p>
            <a:pPr marL="742950" lvl="1" indent="-285750">
              <a:buFont typeface="Arial" panose="020B0604020202020204" pitchFamily="34" charset="0"/>
              <a:buChar char="•"/>
            </a:pPr>
            <a:r>
              <a:rPr lang="en-US" sz="1200"/>
              <a:t>Impossible to deliver innovation</a:t>
            </a:r>
            <a:endParaRPr lang="en-US" sz="1100"/>
          </a:p>
          <a:p>
            <a:pPr algn="l">
              <a:spcBef>
                <a:spcPts val="300"/>
              </a:spcBef>
            </a:pPr>
            <a:endParaRPr lang="en-US" sz="1100"/>
          </a:p>
        </p:txBody>
      </p:sp>
    </p:spTree>
    <p:extLst>
      <p:ext uri="{BB962C8B-B14F-4D97-AF65-F5344CB8AC3E}">
        <p14:creationId xmlns:p14="http://schemas.microsoft.com/office/powerpoint/2010/main" val="2704028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11644B-A7BD-4B31-B319-9A77814DB600}"/>
              </a:ext>
            </a:extLst>
          </p:cNvPr>
          <p:cNvSpPr>
            <a:spLocks noGrp="1"/>
          </p:cNvSpPr>
          <p:nvPr>
            <p:ph type="title"/>
          </p:nvPr>
        </p:nvSpPr>
        <p:spPr/>
        <p:txBody>
          <a:bodyPr/>
          <a:lstStyle/>
          <a:p>
            <a:r>
              <a:rPr lang="en-US"/>
              <a:t>What influenced us</a:t>
            </a:r>
          </a:p>
        </p:txBody>
      </p:sp>
      <p:sp>
        <p:nvSpPr>
          <p:cNvPr id="3" name="Foliennummernplatzhalter 2">
            <a:extLst>
              <a:ext uri="{FF2B5EF4-FFF2-40B4-BE49-F238E27FC236}">
                <a16:creationId xmlns:a16="http://schemas.microsoft.com/office/drawing/2014/main" id="{95CE7450-71C9-4AA9-A75C-FAFFCC7081D4}"/>
              </a:ext>
            </a:extLst>
          </p:cNvPr>
          <p:cNvSpPr>
            <a:spLocks noGrp="1"/>
          </p:cNvSpPr>
          <p:nvPr>
            <p:ph type="sldNum" sz="quarter" idx="12"/>
          </p:nvPr>
        </p:nvSpPr>
        <p:spPr/>
        <p:txBody>
          <a:bodyPr/>
          <a:lstStyle/>
          <a:p>
            <a:fld id="{D45191E9-993A-4B71-A5D0-51B0F1A4B1BB}" type="slidenum">
              <a:rPr lang="en-US" smtClean="0"/>
              <a:pPr/>
              <a:t>14</a:t>
            </a:fld>
            <a:endParaRPr lang="en-US"/>
          </a:p>
        </p:txBody>
      </p:sp>
      <p:sp>
        <p:nvSpPr>
          <p:cNvPr id="4" name="Textplatzhalter 3">
            <a:extLst>
              <a:ext uri="{FF2B5EF4-FFF2-40B4-BE49-F238E27FC236}">
                <a16:creationId xmlns:a16="http://schemas.microsoft.com/office/drawing/2014/main" id="{194D3936-BFED-4541-BA0C-B7D9A696176D}"/>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DevOps  (DevOps handbook, Project Phoenix et al)</a:t>
            </a:r>
          </a:p>
          <a:p>
            <a:pPr marL="285750" indent="-285750">
              <a:buFont typeface="Arial" panose="020B0604020202020204" pitchFamily="34" charset="0"/>
              <a:buChar char="•"/>
            </a:pPr>
            <a:r>
              <a:rPr lang="en-US" dirty="0"/>
              <a:t>Project to Product</a:t>
            </a:r>
          </a:p>
          <a:p>
            <a:pPr marL="285750" indent="-285750">
              <a:buFont typeface="Arial" panose="020B0604020202020204" pitchFamily="34" charset="0"/>
              <a:buChar char="•"/>
            </a:pPr>
            <a:r>
              <a:rPr lang="en-US" dirty="0"/>
              <a:t>Better Value Sooner Happier</a:t>
            </a:r>
          </a:p>
          <a:p>
            <a:pPr marL="285750" indent="-285750">
              <a:buFont typeface="Arial" panose="020B0604020202020204" pitchFamily="34" charset="0"/>
              <a:buChar char="•"/>
            </a:pPr>
            <a:r>
              <a:rPr lang="en-US" dirty="0"/>
              <a:t>The need to change the company (people, mindset, processes, methods, responsibilities, speed) for happier customer, flexible set up and future orientated options. </a:t>
            </a:r>
          </a:p>
          <a:p>
            <a:pPr marL="285750" indent="-285750">
              <a:buFont typeface="Arial" panose="020B0604020202020204" pitchFamily="34" charset="0"/>
              <a:buChar char="•"/>
            </a:pPr>
            <a:r>
              <a:rPr lang="en-US" dirty="0"/>
              <a:t>Lean startup</a:t>
            </a:r>
          </a:p>
          <a:p>
            <a:pPr marL="285750" indent="-285750">
              <a:buFont typeface="Arial" panose="020B0604020202020204" pitchFamily="34" charset="0"/>
              <a:buChar char="•"/>
            </a:pPr>
            <a:r>
              <a:rPr lang="en-US" dirty="0"/>
              <a:t>Digital innovation playbook</a:t>
            </a:r>
          </a:p>
          <a:p>
            <a:pPr marL="285750" indent="-285750">
              <a:buFont typeface="Arial" panose="020B0604020202020204" pitchFamily="34" charset="0"/>
              <a:buChar char="•"/>
            </a:pPr>
            <a:r>
              <a:rPr lang="en-US" dirty="0"/>
              <a:t>Business canvas</a:t>
            </a:r>
          </a:p>
          <a:p>
            <a:pPr marL="285750" indent="-285750">
              <a:buFont typeface="Arial" panose="020B0604020202020204" pitchFamily="34" charset="0"/>
              <a:buChar char="•"/>
            </a:pPr>
            <a:endParaRPr lang="en-US" dirty="0"/>
          </a:p>
          <a:p>
            <a:r>
              <a:rPr lang="en-US" dirty="0"/>
              <a:t>We won‘t cover these approaches here.</a:t>
            </a:r>
          </a:p>
          <a:p>
            <a:r>
              <a:rPr lang="en-US" dirty="0"/>
              <a:t>We will share our experience implementing these approaches.</a:t>
            </a:r>
          </a:p>
          <a:p>
            <a:endParaRPr lang="en-US" dirty="0"/>
          </a:p>
        </p:txBody>
      </p:sp>
    </p:spTree>
    <p:extLst>
      <p:ext uri="{BB962C8B-B14F-4D97-AF65-F5344CB8AC3E}">
        <p14:creationId xmlns:p14="http://schemas.microsoft.com/office/powerpoint/2010/main" val="3918544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15</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en-US" sz="4400"/>
              <a:t>3 – Our understanding of End2End/ i2i/ delivery</a:t>
            </a:r>
          </a:p>
          <a:p>
            <a:pPr algn="ctr">
              <a:spcBef>
                <a:spcPts val="300"/>
              </a:spcBef>
            </a:pPr>
            <a:endParaRPr lang="en-US" sz="4400"/>
          </a:p>
        </p:txBody>
      </p:sp>
      <p:pic>
        <p:nvPicPr>
          <p:cNvPr id="4" name="Grafik 3">
            <a:extLst>
              <a:ext uri="{FF2B5EF4-FFF2-40B4-BE49-F238E27FC236}">
                <a16:creationId xmlns:a16="http://schemas.microsoft.com/office/drawing/2014/main" id="{30EF1516-90FB-4B8A-A3DC-448B4873DA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3068561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A6BD3B8-BCEA-4B94-8660-2A4908DDB391}"/>
              </a:ext>
            </a:extLst>
          </p:cNvPr>
          <p:cNvSpPr>
            <a:spLocks noGrp="1"/>
          </p:cNvSpPr>
          <p:nvPr>
            <p:ph type="title"/>
          </p:nvPr>
        </p:nvSpPr>
        <p:spPr/>
        <p:txBody>
          <a:bodyPr/>
          <a:lstStyle/>
          <a:p>
            <a:r>
              <a:rPr lang="en-US"/>
              <a:t>Typical Agility according to Klaus Leopold</a:t>
            </a:r>
          </a:p>
        </p:txBody>
      </p:sp>
      <p:sp>
        <p:nvSpPr>
          <p:cNvPr id="3" name="Foliennummernplatzhalter 2">
            <a:extLst>
              <a:ext uri="{FF2B5EF4-FFF2-40B4-BE49-F238E27FC236}">
                <a16:creationId xmlns:a16="http://schemas.microsoft.com/office/drawing/2014/main" id="{872DE765-A733-42FF-A8E0-7F04D8514319}"/>
              </a:ext>
            </a:extLst>
          </p:cNvPr>
          <p:cNvSpPr>
            <a:spLocks noGrp="1"/>
          </p:cNvSpPr>
          <p:nvPr>
            <p:ph type="sldNum" sz="quarter" idx="12"/>
          </p:nvPr>
        </p:nvSpPr>
        <p:spPr/>
        <p:txBody>
          <a:bodyPr/>
          <a:lstStyle/>
          <a:p>
            <a:fld id="{D45191E9-993A-4B71-A5D0-51B0F1A4B1BB}" type="slidenum">
              <a:rPr lang="en-US" smtClean="0"/>
              <a:pPr/>
              <a:t>16</a:t>
            </a:fld>
            <a:endParaRPr lang="en-US"/>
          </a:p>
        </p:txBody>
      </p:sp>
      <p:pic>
        <p:nvPicPr>
          <p:cNvPr id="7" name="Grafik 6" descr="Ein Bild, das Text, Karte enthält.&#10;&#10;Automatisch generierte Beschreibung">
            <a:extLst>
              <a:ext uri="{FF2B5EF4-FFF2-40B4-BE49-F238E27FC236}">
                <a16:creationId xmlns:a16="http://schemas.microsoft.com/office/drawing/2014/main" id="{04275E3D-188A-4915-9EF1-509EB7BAF9CF}"/>
              </a:ext>
            </a:extLst>
          </p:cNvPr>
          <p:cNvPicPr>
            <a:picLocks noChangeAspect="1"/>
          </p:cNvPicPr>
          <p:nvPr/>
        </p:nvPicPr>
        <p:blipFill>
          <a:blip r:embed="rId2"/>
          <a:stretch>
            <a:fillRect/>
          </a:stretch>
        </p:blipFill>
        <p:spPr>
          <a:xfrm>
            <a:off x="1337781" y="1086345"/>
            <a:ext cx="7630049" cy="5393655"/>
          </a:xfrm>
          <a:prstGeom prst="rect">
            <a:avLst/>
          </a:prstGeom>
        </p:spPr>
      </p:pic>
    </p:spTree>
    <p:extLst>
      <p:ext uri="{BB962C8B-B14F-4D97-AF65-F5344CB8AC3E}">
        <p14:creationId xmlns:p14="http://schemas.microsoft.com/office/powerpoint/2010/main" val="4252373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Idea to impact</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17</a:t>
            </a:fld>
            <a:endParaRPr lang="en-US"/>
          </a:p>
        </p:txBody>
      </p:sp>
      <p:sp>
        <p:nvSpPr>
          <p:cNvPr id="4" name="Rechteck 3">
            <a:extLst>
              <a:ext uri="{FF2B5EF4-FFF2-40B4-BE49-F238E27FC236}">
                <a16:creationId xmlns:a16="http://schemas.microsoft.com/office/drawing/2014/main" id="{2133908C-5D86-4B60-9CC1-C3EC6B471A7E}"/>
              </a:ext>
            </a:extLst>
          </p:cNvPr>
          <p:cNvSpPr/>
          <p:nvPr/>
        </p:nvSpPr>
        <p:spPr>
          <a:xfrm>
            <a:off x="515378" y="2734810"/>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6" name="Rechteck 5">
            <a:extLst>
              <a:ext uri="{FF2B5EF4-FFF2-40B4-BE49-F238E27FC236}">
                <a16:creationId xmlns:a16="http://schemas.microsoft.com/office/drawing/2014/main" id="{DC04A49D-17B8-4AB5-891D-3E31F85755E8}"/>
              </a:ext>
            </a:extLst>
          </p:cNvPr>
          <p:cNvSpPr/>
          <p:nvPr/>
        </p:nvSpPr>
        <p:spPr>
          <a:xfrm>
            <a:off x="1859431" y="2734809"/>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7" name="Rechteck 6">
            <a:extLst>
              <a:ext uri="{FF2B5EF4-FFF2-40B4-BE49-F238E27FC236}">
                <a16:creationId xmlns:a16="http://schemas.microsoft.com/office/drawing/2014/main" id="{F274681F-E370-4349-8E52-B142BA05F2E5}"/>
              </a:ext>
            </a:extLst>
          </p:cNvPr>
          <p:cNvSpPr/>
          <p:nvPr/>
        </p:nvSpPr>
        <p:spPr>
          <a:xfrm>
            <a:off x="3203484" y="273480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Textfeld 7">
            <a:extLst>
              <a:ext uri="{FF2B5EF4-FFF2-40B4-BE49-F238E27FC236}">
                <a16:creationId xmlns:a16="http://schemas.microsoft.com/office/drawing/2014/main" id="{6B17C3B0-FD6D-4B27-84DF-5684C85E01B7}"/>
              </a:ext>
            </a:extLst>
          </p:cNvPr>
          <p:cNvSpPr txBox="1"/>
          <p:nvPr/>
        </p:nvSpPr>
        <p:spPr>
          <a:xfrm>
            <a:off x="676520" y="3653472"/>
            <a:ext cx="764633" cy="246221"/>
          </a:xfrm>
          <a:prstGeom prst="rect">
            <a:avLst/>
          </a:prstGeom>
          <a:noFill/>
        </p:spPr>
        <p:txBody>
          <a:bodyPr wrap="none" lIns="0" tIns="0" rIns="0" bIns="0" rtlCol="0">
            <a:spAutoFit/>
          </a:bodyPr>
          <a:lstStyle/>
          <a:p>
            <a:pPr>
              <a:spcBef>
                <a:spcPts val="300"/>
              </a:spcBef>
              <a:buClr>
                <a:schemeClr val="tx2"/>
              </a:buClr>
            </a:pPr>
            <a:r>
              <a:rPr lang="en-US" sz="1600"/>
              <a:t>Strategy</a:t>
            </a:r>
          </a:p>
        </p:txBody>
      </p:sp>
      <p:sp>
        <p:nvSpPr>
          <p:cNvPr id="9" name="Textfeld 8">
            <a:extLst>
              <a:ext uri="{FF2B5EF4-FFF2-40B4-BE49-F238E27FC236}">
                <a16:creationId xmlns:a16="http://schemas.microsoft.com/office/drawing/2014/main" id="{82A7C533-2DA1-4CDE-A843-BE3D4F877CC7}"/>
              </a:ext>
            </a:extLst>
          </p:cNvPr>
          <p:cNvSpPr txBox="1"/>
          <p:nvPr/>
        </p:nvSpPr>
        <p:spPr>
          <a:xfrm>
            <a:off x="2038206" y="3666744"/>
            <a:ext cx="729367" cy="246221"/>
          </a:xfrm>
          <a:prstGeom prst="rect">
            <a:avLst/>
          </a:prstGeom>
          <a:noFill/>
        </p:spPr>
        <p:txBody>
          <a:bodyPr wrap="none" lIns="0" tIns="0" rIns="0" bIns="0" rtlCol="0">
            <a:spAutoFit/>
          </a:bodyPr>
          <a:lstStyle/>
          <a:p>
            <a:pPr>
              <a:spcBef>
                <a:spcPts val="300"/>
              </a:spcBef>
              <a:buClr>
                <a:schemeClr val="tx2"/>
              </a:buClr>
            </a:pPr>
            <a:r>
              <a:rPr lang="en-US" sz="1600"/>
              <a:t>Ideation</a:t>
            </a:r>
          </a:p>
        </p:txBody>
      </p:sp>
      <p:sp>
        <p:nvSpPr>
          <p:cNvPr id="10" name="Textfeld 9">
            <a:extLst>
              <a:ext uri="{FF2B5EF4-FFF2-40B4-BE49-F238E27FC236}">
                <a16:creationId xmlns:a16="http://schemas.microsoft.com/office/drawing/2014/main" id="{99B15D4C-020C-4DF2-91B6-5E2D026C2475}"/>
              </a:ext>
            </a:extLst>
          </p:cNvPr>
          <p:cNvSpPr txBox="1"/>
          <p:nvPr/>
        </p:nvSpPr>
        <p:spPr>
          <a:xfrm>
            <a:off x="3229173" y="3649344"/>
            <a:ext cx="1035540" cy="246221"/>
          </a:xfrm>
          <a:prstGeom prst="rect">
            <a:avLst/>
          </a:prstGeom>
          <a:noFill/>
        </p:spPr>
        <p:txBody>
          <a:bodyPr wrap="none" lIns="0" tIns="0" rIns="0" bIns="0" rtlCol="0">
            <a:spAutoFit/>
          </a:bodyPr>
          <a:lstStyle/>
          <a:p>
            <a:pPr>
              <a:spcBef>
                <a:spcPts val="300"/>
              </a:spcBef>
              <a:buClr>
                <a:schemeClr val="tx2"/>
              </a:buClr>
            </a:pPr>
            <a:r>
              <a:rPr lang="en-US" sz="1600"/>
              <a:t>Conception</a:t>
            </a:r>
          </a:p>
        </p:txBody>
      </p:sp>
      <p:sp>
        <p:nvSpPr>
          <p:cNvPr id="11" name="Textfeld 10">
            <a:extLst>
              <a:ext uri="{FF2B5EF4-FFF2-40B4-BE49-F238E27FC236}">
                <a16:creationId xmlns:a16="http://schemas.microsoft.com/office/drawing/2014/main" id="{44420185-05F1-4FF7-8CBB-F1D71484F550}"/>
              </a:ext>
            </a:extLst>
          </p:cNvPr>
          <p:cNvSpPr txBox="1"/>
          <p:nvPr/>
        </p:nvSpPr>
        <p:spPr>
          <a:xfrm>
            <a:off x="4487465" y="3631944"/>
            <a:ext cx="1207062" cy="246221"/>
          </a:xfrm>
          <a:prstGeom prst="rect">
            <a:avLst/>
          </a:prstGeom>
          <a:noFill/>
        </p:spPr>
        <p:txBody>
          <a:bodyPr wrap="none" lIns="0" tIns="0" rIns="0" bIns="0" rtlCol="0">
            <a:spAutoFit/>
          </a:bodyPr>
          <a:lstStyle/>
          <a:p>
            <a:pPr>
              <a:spcBef>
                <a:spcPts val="300"/>
              </a:spcBef>
              <a:buClr>
                <a:schemeClr val="tx2"/>
              </a:buClr>
            </a:pPr>
            <a:r>
              <a:rPr lang="en-US" sz="1600"/>
              <a:t>Development</a:t>
            </a:r>
          </a:p>
        </p:txBody>
      </p:sp>
      <p:sp>
        <p:nvSpPr>
          <p:cNvPr id="12" name="Rechteck 11">
            <a:extLst>
              <a:ext uri="{FF2B5EF4-FFF2-40B4-BE49-F238E27FC236}">
                <a16:creationId xmlns:a16="http://schemas.microsoft.com/office/drawing/2014/main" id="{71235161-A317-451A-AC61-4457E088D924}"/>
              </a:ext>
            </a:extLst>
          </p:cNvPr>
          <p:cNvSpPr/>
          <p:nvPr/>
        </p:nvSpPr>
        <p:spPr>
          <a:xfrm>
            <a:off x="4547537" y="273110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3" name="Rechteck 12">
            <a:extLst>
              <a:ext uri="{FF2B5EF4-FFF2-40B4-BE49-F238E27FC236}">
                <a16:creationId xmlns:a16="http://schemas.microsoft.com/office/drawing/2014/main" id="{48403080-354A-4434-8E22-23AFD0D28FA7}"/>
              </a:ext>
            </a:extLst>
          </p:cNvPr>
          <p:cNvSpPr/>
          <p:nvPr/>
        </p:nvSpPr>
        <p:spPr>
          <a:xfrm>
            <a:off x="5891590" y="272739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4" name="Rechteck 13">
            <a:extLst>
              <a:ext uri="{FF2B5EF4-FFF2-40B4-BE49-F238E27FC236}">
                <a16:creationId xmlns:a16="http://schemas.microsoft.com/office/drawing/2014/main" id="{6216F418-48BF-43F4-B5D1-776F21DC71BA}"/>
              </a:ext>
            </a:extLst>
          </p:cNvPr>
          <p:cNvSpPr/>
          <p:nvPr/>
        </p:nvSpPr>
        <p:spPr>
          <a:xfrm>
            <a:off x="7235643" y="272369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5" name="Rechteck 14">
            <a:extLst>
              <a:ext uri="{FF2B5EF4-FFF2-40B4-BE49-F238E27FC236}">
                <a16:creationId xmlns:a16="http://schemas.microsoft.com/office/drawing/2014/main" id="{E58871ED-84AA-4E09-8DBC-1F2EFF9A19EC}"/>
              </a:ext>
            </a:extLst>
          </p:cNvPr>
          <p:cNvSpPr/>
          <p:nvPr/>
        </p:nvSpPr>
        <p:spPr>
          <a:xfrm>
            <a:off x="8579696" y="271998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6" name="Rechteck 15">
            <a:extLst>
              <a:ext uri="{FF2B5EF4-FFF2-40B4-BE49-F238E27FC236}">
                <a16:creationId xmlns:a16="http://schemas.microsoft.com/office/drawing/2014/main" id="{C08952F2-E8C0-412F-BF75-F58988522EAE}"/>
              </a:ext>
            </a:extLst>
          </p:cNvPr>
          <p:cNvSpPr/>
          <p:nvPr/>
        </p:nvSpPr>
        <p:spPr>
          <a:xfrm>
            <a:off x="9923749" y="271628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7" name="Textfeld 16">
            <a:extLst>
              <a:ext uri="{FF2B5EF4-FFF2-40B4-BE49-F238E27FC236}">
                <a16:creationId xmlns:a16="http://schemas.microsoft.com/office/drawing/2014/main" id="{6AF8D632-D58C-4B07-9164-CB542E802FBA}"/>
              </a:ext>
            </a:extLst>
          </p:cNvPr>
          <p:cNvSpPr txBox="1"/>
          <p:nvPr/>
        </p:nvSpPr>
        <p:spPr>
          <a:xfrm>
            <a:off x="6246856" y="3631944"/>
            <a:ext cx="376385" cy="246221"/>
          </a:xfrm>
          <a:prstGeom prst="rect">
            <a:avLst/>
          </a:prstGeom>
          <a:noFill/>
        </p:spPr>
        <p:txBody>
          <a:bodyPr wrap="none" lIns="0" tIns="0" rIns="0" bIns="0" rtlCol="0">
            <a:spAutoFit/>
          </a:bodyPr>
          <a:lstStyle/>
          <a:p>
            <a:pPr>
              <a:spcBef>
                <a:spcPts val="300"/>
              </a:spcBef>
              <a:buClr>
                <a:schemeClr val="tx2"/>
              </a:buClr>
            </a:pPr>
            <a:r>
              <a:rPr lang="en-US" sz="1600"/>
              <a:t>Test</a:t>
            </a:r>
          </a:p>
        </p:txBody>
      </p:sp>
      <p:sp>
        <p:nvSpPr>
          <p:cNvPr id="18" name="Textfeld 17">
            <a:extLst>
              <a:ext uri="{FF2B5EF4-FFF2-40B4-BE49-F238E27FC236}">
                <a16:creationId xmlns:a16="http://schemas.microsoft.com/office/drawing/2014/main" id="{271EC4DF-F166-4C3D-AA47-1A9B3F2BDC59}"/>
              </a:ext>
            </a:extLst>
          </p:cNvPr>
          <p:cNvSpPr txBox="1"/>
          <p:nvPr/>
        </p:nvSpPr>
        <p:spPr>
          <a:xfrm>
            <a:off x="7590749" y="3631943"/>
            <a:ext cx="376706" cy="246221"/>
          </a:xfrm>
          <a:prstGeom prst="rect">
            <a:avLst/>
          </a:prstGeom>
          <a:noFill/>
        </p:spPr>
        <p:txBody>
          <a:bodyPr wrap="none" lIns="0" tIns="0" rIns="0" bIns="0" rtlCol="0">
            <a:spAutoFit/>
          </a:bodyPr>
          <a:lstStyle/>
          <a:p>
            <a:pPr>
              <a:spcBef>
                <a:spcPts val="300"/>
              </a:spcBef>
              <a:buClr>
                <a:schemeClr val="tx2"/>
              </a:buClr>
            </a:pPr>
            <a:r>
              <a:rPr lang="en-US" sz="1600"/>
              <a:t>Ops</a:t>
            </a:r>
          </a:p>
        </p:txBody>
      </p:sp>
      <p:sp>
        <p:nvSpPr>
          <p:cNvPr id="19" name="Textfeld 18">
            <a:extLst>
              <a:ext uri="{FF2B5EF4-FFF2-40B4-BE49-F238E27FC236}">
                <a16:creationId xmlns:a16="http://schemas.microsoft.com/office/drawing/2014/main" id="{268A23D6-EDA5-4ED5-B72E-8E8C3794EAA0}"/>
              </a:ext>
            </a:extLst>
          </p:cNvPr>
          <p:cNvSpPr txBox="1"/>
          <p:nvPr/>
        </p:nvSpPr>
        <p:spPr>
          <a:xfrm>
            <a:off x="8934963" y="3628761"/>
            <a:ext cx="375103" cy="246221"/>
          </a:xfrm>
          <a:prstGeom prst="rect">
            <a:avLst/>
          </a:prstGeom>
          <a:noFill/>
        </p:spPr>
        <p:txBody>
          <a:bodyPr wrap="none" lIns="0" tIns="0" rIns="0" bIns="0" rtlCol="0">
            <a:spAutoFit/>
          </a:bodyPr>
          <a:lstStyle/>
          <a:p>
            <a:pPr>
              <a:spcBef>
                <a:spcPts val="300"/>
              </a:spcBef>
              <a:buClr>
                <a:schemeClr val="tx2"/>
              </a:buClr>
            </a:pPr>
            <a:r>
              <a:rPr lang="en-US" sz="1600"/>
              <a:t>Live</a:t>
            </a:r>
          </a:p>
        </p:txBody>
      </p:sp>
      <p:sp>
        <p:nvSpPr>
          <p:cNvPr id="20" name="Textfeld 19">
            <a:extLst>
              <a:ext uri="{FF2B5EF4-FFF2-40B4-BE49-F238E27FC236}">
                <a16:creationId xmlns:a16="http://schemas.microsoft.com/office/drawing/2014/main" id="{FE9B6E88-8FC0-4938-BF6F-B10F5BC78F12}"/>
              </a:ext>
            </a:extLst>
          </p:cNvPr>
          <p:cNvSpPr txBox="1"/>
          <p:nvPr/>
        </p:nvSpPr>
        <p:spPr>
          <a:xfrm>
            <a:off x="10279177" y="3625579"/>
            <a:ext cx="511358" cy="246221"/>
          </a:xfrm>
          <a:prstGeom prst="rect">
            <a:avLst/>
          </a:prstGeom>
          <a:noFill/>
        </p:spPr>
        <p:txBody>
          <a:bodyPr wrap="none" lIns="0" tIns="0" rIns="0" bIns="0" rtlCol="0">
            <a:spAutoFit/>
          </a:bodyPr>
          <a:lstStyle/>
          <a:p>
            <a:pPr>
              <a:spcBef>
                <a:spcPts val="300"/>
              </a:spcBef>
              <a:buClr>
                <a:schemeClr val="tx2"/>
              </a:buClr>
            </a:pPr>
            <a:r>
              <a:rPr lang="en-US" sz="1600"/>
              <a:t>Sales</a:t>
            </a:r>
          </a:p>
        </p:txBody>
      </p:sp>
      <p:sp>
        <p:nvSpPr>
          <p:cNvPr id="21" name="Pfeil: nach rechts 20">
            <a:extLst>
              <a:ext uri="{FF2B5EF4-FFF2-40B4-BE49-F238E27FC236}">
                <a16:creationId xmlns:a16="http://schemas.microsoft.com/office/drawing/2014/main" id="{C45CA621-C2DD-415D-932D-A7075A451D8C}"/>
              </a:ext>
            </a:extLst>
          </p:cNvPr>
          <p:cNvSpPr/>
          <p:nvPr/>
        </p:nvSpPr>
        <p:spPr>
          <a:xfrm>
            <a:off x="1635372"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2" name="Pfeil: nach rechts 21">
            <a:extLst>
              <a:ext uri="{FF2B5EF4-FFF2-40B4-BE49-F238E27FC236}">
                <a16:creationId xmlns:a16="http://schemas.microsoft.com/office/drawing/2014/main" id="{DABD4526-9242-4D69-A171-612FD8D6BBC4}"/>
              </a:ext>
            </a:extLst>
          </p:cNvPr>
          <p:cNvSpPr/>
          <p:nvPr/>
        </p:nvSpPr>
        <p:spPr>
          <a:xfrm>
            <a:off x="296884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3" name="Pfeil: nach rechts 22">
            <a:extLst>
              <a:ext uri="{FF2B5EF4-FFF2-40B4-BE49-F238E27FC236}">
                <a16:creationId xmlns:a16="http://schemas.microsoft.com/office/drawing/2014/main" id="{DF983445-9CC0-4E8B-A7B5-B8954FAEDAC0}"/>
              </a:ext>
            </a:extLst>
          </p:cNvPr>
          <p:cNvSpPr/>
          <p:nvPr/>
        </p:nvSpPr>
        <p:spPr>
          <a:xfrm>
            <a:off x="4310697"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4" name="Pfeil: nach rechts 23">
            <a:extLst>
              <a:ext uri="{FF2B5EF4-FFF2-40B4-BE49-F238E27FC236}">
                <a16:creationId xmlns:a16="http://schemas.microsoft.com/office/drawing/2014/main" id="{68719F33-AAD1-4C98-A94A-2764CB44CCB2}"/>
              </a:ext>
            </a:extLst>
          </p:cNvPr>
          <p:cNvSpPr/>
          <p:nvPr/>
        </p:nvSpPr>
        <p:spPr>
          <a:xfrm>
            <a:off x="566094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5" name="Pfeil: nach rechts 24">
            <a:extLst>
              <a:ext uri="{FF2B5EF4-FFF2-40B4-BE49-F238E27FC236}">
                <a16:creationId xmlns:a16="http://schemas.microsoft.com/office/drawing/2014/main" id="{0ADE5C69-A06D-415B-BF7F-B42036290D34}"/>
              </a:ext>
            </a:extLst>
          </p:cNvPr>
          <p:cNvSpPr/>
          <p:nvPr/>
        </p:nvSpPr>
        <p:spPr>
          <a:xfrm>
            <a:off x="700280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6" name="Pfeil: nach rechts 25">
            <a:extLst>
              <a:ext uri="{FF2B5EF4-FFF2-40B4-BE49-F238E27FC236}">
                <a16:creationId xmlns:a16="http://schemas.microsoft.com/office/drawing/2014/main" id="{C299D183-F471-4A5F-98CA-078FCD075A16}"/>
              </a:ext>
            </a:extLst>
          </p:cNvPr>
          <p:cNvSpPr/>
          <p:nvPr/>
        </p:nvSpPr>
        <p:spPr>
          <a:xfrm>
            <a:off x="8336268"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7" name="Pfeil: nach rechts 26">
            <a:extLst>
              <a:ext uri="{FF2B5EF4-FFF2-40B4-BE49-F238E27FC236}">
                <a16:creationId xmlns:a16="http://schemas.microsoft.com/office/drawing/2014/main" id="{71D8CF28-B993-4C44-91F2-2EAE826FE025}"/>
              </a:ext>
            </a:extLst>
          </p:cNvPr>
          <p:cNvSpPr/>
          <p:nvPr/>
        </p:nvSpPr>
        <p:spPr>
          <a:xfrm>
            <a:off x="969490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8" name="Rechteck 27">
            <a:extLst>
              <a:ext uri="{FF2B5EF4-FFF2-40B4-BE49-F238E27FC236}">
                <a16:creationId xmlns:a16="http://schemas.microsoft.com/office/drawing/2014/main" id="{7806280D-4683-47CE-8711-3A47281D3BE6}"/>
              </a:ext>
            </a:extLst>
          </p:cNvPr>
          <p:cNvSpPr/>
          <p:nvPr/>
        </p:nvSpPr>
        <p:spPr>
          <a:xfrm rot="245631">
            <a:off x="9164868" y="552937"/>
            <a:ext cx="2373299" cy="12713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spcBef>
                <a:spcPts val="300"/>
              </a:spcBef>
            </a:pPr>
            <a:r>
              <a:rPr lang="en-US" sz="1100"/>
              <a:t>Each process step is siloed into a dedicated department</a:t>
            </a:r>
          </a:p>
        </p:txBody>
      </p:sp>
    </p:spTree>
    <p:extLst>
      <p:ext uri="{BB962C8B-B14F-4D97-AF65-F5344CB8AC3E}">
        <p14:creationId xmlns:p14="http://schemas.microsoft.com/office/powerpoint/2010/main" val="1228551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sz="2400"/>
              <a:t>We started using agile frameworks in development like most of the companies do</a:t>
            </a:r>
            <a:endParaRPr lang="en-US"/>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18</a:t>
            </a:fld>
            <a:endParaRPr lang="en-US"/>
          </a:p>
        </p:txBody>
      </p:sp>
      <p:pic>
        <p:nvPicPr>
          <p:cNvPr id="6" name="Grafik 5">
            <a:extLst>
              <a:ext uri="{FF2B5EF4-FFF2-40B4-BE49-F238E27FC236}">
                <a16:creationId xmlns:a16="http://schemas.microsoft.com/office/drawing/2014/main" id="{DAB9C7FB-15DC-4BBC-9944-083E3618D8C3}"/>
              </a:ext>
            </a:extLst>
          </p:cNvPr>
          <p:cNvPicPr>
            <a:picLocks noChangeAspect="1"/>
          </p:cNvPicPr>
          <p:nvPr/>
        </p:nvPicPr>
        <p:blipFill>
          <a:blip r:embed="rId2"/>
          <a:stretch>
            <a:fillRect/>
          </a:stretch>
        </p:blipFill>
        <p:spPr>
          <a:xfrm rot="387779">
            <a:off x="9208579" y="4630007"/>
            <a:ext cx="2652554" cy="1552714"/>
          </a:xfrm>
          <a:prstGeom prst="rect">
            <a:avLst/>
          </a:prstGeom>
          <a:ln>
            <a:solidFill>
              <a:schemeClr val="tx1"/>
            </a:solidFill>
          </a:ln>
        </p:spPr>
      </p:pic>
      <p:sp>
        <p:nvSpPr>
          <p:cNvPr id="7" name="Rechteck 6">
            <a:extLst>
              <a:ext uri="{FF2B5EF4-FFF2-40B4-BE49-F238E27FC236}">
                <a16:creationId xmlns:a16="http://schemas.microsoft.com/office/drawing/2014/main" id="{7705C9C0-2F33-4AA9-B94D-10237032753B}"/>
              </a:ext>
            </a:extLst>
          </p:cNvPr>
          <p:cNvSpPr/>
          <p:nvPr/>
        </p:nvSpPr>
        <p:spPr>
          <a:xfrm>
            <a:off x="515378" y="2734810"/>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Rechteck 7">
            <a:extLst>
              <a:ext uri="{FF2B5EF4-FFF2-40B4-BE49-F238E27FC236}">
                <a16:creationId xmlns:a16="http://schemas.microsoft.com/office/drawing/2014/main" id="{00AAA7D4-7F30-4F7E-93AD-E29983620743}"/>
              </a:ext>
            </a:extLst>
          </p:cNvPr>
          <p:cNvSpPr/>
          <p:nvPr/>
        </p:nvSpPr>
        <p:spPr>
          <a:xfrm>
            <a:off x="1859431" y="2734809"/>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9" name="Rechteck 8">
            <a:extLst>
              <a:ext uri="{FF2B5EF4-FFF2-40B4-BE49-F238E27FC236}">
                <a16:creationId xmlns:a16="http://schemas.microsoft.com/office/drawing/2014/main" id="{485304C4-CA6A-4CE0-9D3C-751250515E5C}"/>
              </a:ext>
            </a:extLst>
          </p:cNvPr>
          <p:cNvSpPr/>
          <p:nvPr/>
        </p:nvSpPr>
        <p:spPr>
          <a:xfrm>
            <a:off x="3203484" y="273480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180000">
              <a:spcBef>
                <a:spcPts val="300"/>
              </a:spcBef>
              <a:buFont typeface="Arial" panose="020B0604020202020204" pitchFamily="34" charset="0"/>
              <a:buChar char="•"/>
            </a:pPr>
            <a:endParaRPr lang="en-US" sz="1600"/>
          </a:p>
        </p:txBody>
      </p:sp>
      <p:sp>
        <p:nvSpPr>
          <p:cNvPr id="10" name="Textfeld 9">
            <a:extLst>
              <a:ext uri="{FF2B5EF4-FFF2-40B4-BE49-F238E27FC236}">
                <a16:creationId xmlns:a16="http://schemas.microsoft.com/office/drawing/2014/main" id="{16B5F6A5-3232-4801-80D8-49D67DFE1EE6}"/>
              </a:ext>
            </a:extLst>
          </p:cNvPr>
          <p:cNvSpPr txBox="1"/>
          <p:nvPr/>
        </p:nvSpPr>
        <p:spPr>
          <a:xfrm>
            <a:off x="676520" y="3653472"/>
            <a:ext cx="764633" cy="246221"/>
          </a:xfrm>
          <a:prstGeom prst="rect">
            <a:avLst/>
          </a:prstGeom>
          <a:noFill/>
        </p:spPr>
        <p:txBody>
          <a:bodyPr wrap="none" lIns="0" tIns="0" rIns="0" bIns="0" rtlCol="0">
            <a:spAutoFit/>
          </a:bodyPr>
          <a:lstStyle/>
          <a:p>
            <a:pPr>
              <a:spcBef>
                <a:spcPts val="300"/>
              </a:spcBef>
              <a:buClr>
                <a:schemeClr val="tx2"/>
              </a:buClr>
            </a:pPr>
            <a:r>
              <a:rPr lang="en-US" sz="1600"/>
              <a:t>Strategy</a:t>
            </a:r>
          </a:p>
        </p:txBody>
      </p:sp>
      <p:sp>
        <p:nvSpPr>
          <p:cNvPr id="11" name="Textfeld 10">
            <a:extLst>
              <a:ext uri="{FF2B5EF4-FFF2-40B4-BE49-F238E27FC236}">
                <a16:creationId xmlns:a16="http://schemas.microsoft.com/office/drawing/2014/main" id="{8F160DAA-F038-4E60-9685-A6F919E712BA}"/>
              </a:ext>
            </a:extLst>
          </p:cNvPr>
          <p:cNvSpPr txBox="1"/>
          <p:nvPr/>
        </p:nvSpPr>
        <p:spPr>
          <a:xfrm>
            <a:off x="2038206" y="3666744"/>
            <a:ext cx="729367" cy="246221"/>
          </a:xfrm>
          <a:prstGeom prst="rect">
            <a:avLst/>
          </a:prstGeom>
          <a:noFill/>
        </p:spPr>
        <p:txBody>
          <a:bodyPr wrap="none" lIns="0" tIns="0" rIns="0" bIns="0" rtlCol="0">
            <a:spAutoFit/>
          </a:bodyPr>
          <a:lstStyle/>
          <a:p>
            <a:pPr>
              <a:spcBef>
                <a:spcPts val="300"/>
              </a:spcBef>
              <a:buClr>
                <a:schemeClr val="tx2"/>
              </a:buClr>
            </a:pPr>
            <a:r>
              <a:rPr lang="en-US" sz="1600"/>
              <a:t>Ideation</a:t>
            </a:r>
          </a:p>
        </p:txBody>
      </p:sp>
      <p:sp>
        <p:nvSpPr>
          <p:cNvPr id="12" name="Textfeld 11">
            <a:extLst>
              <a:ext uri="{FF2B5EF4-FFF2-40B4-BE49-F238E27FC236}">
                <a16:creationId xmlns:a16="http://schemas.microsoft.com/office/drawing/2014/main" id="{AA0BD78E-4C04-4216-977E-61028CC363C7}"/>
              </a:ext>
            </a:extLst>
          </p:cNvPr>
          <p:cNvSpPr txBox="1"/>
          <p:nvPr/>
        </p:nvSpPr>
        <p:spPr>
          <a:xfrm>
            <a:off x="3229173" y="3649344"/>
            <a:ext cx="1035540" cy="246221"/>
          </a:xfrm>
          <a:prstGeom prst="rect">
            <a:avLst/>
          </a:prstGeom>
          <a:noFill/>
        </p:spPr>
        <p:txBody>
          <a:bodyPr wrap="none" lIns="0" tIns="0" rIns="0" bIns="0" rtlCol="0">
            <a:spAutoFit/>
          </a:bodyPr>
          <a:lstStyle/>
          <a:p>
            <a:pPr>
              <a:spcBef>
                <a:spcPts val="300"/>
              </a:spcBef>
              <a:buClr>
                <a:schemeClr val="tx2"/>
              </a:buClr>
            </a:pPr>
            <a:r>
              <a:rPr lang="en-US" sz="1600"/>
              <a:t>Conception</a:t>
            </a:r>
          </a:p>
        </p:txBody>
      </p:sp>
      <p:sp>
        <p:nvSpPr>
          <p:cNvPr id="13" name="Textfeld 12">
            <a:extLst>
              <a:ext uri="{FF2B5EF4-FFF2-40B4-BE49-F238E27FC236}">
                <a16:creationId xmlns:a16="http://schemas.microsoft.com/office/drawing/2014/main" id="{0D74FD27-1A85-4FC6-AF4D-F0D38733EB0D}"/>
              </a:ext>
            </a:extLst>
          </p:cNvPr>
          <p:cNvSpPr txBox="1"/>
          <p:nvPr/>
        </p:nvSpPr>
        <p:spPr>
          <a:xfrm>
            <a:off x="4487465" y="3631944"/>
            <a:ext cx="1207062" cy="246221"/>
          </a:xfrm>
          <a:prstGeom prst="rect">
            <a:avLst/>
          </a:prstGeom>
          <a:noFill/>
        </p:spPr>
        <p:txBody>
          <a:bodyPr wrap="none" lIns="0" tIns="0" rIns="0" bIns="0" rtlCol="0">
            <a:spAutoFit/>
          </a:bodyPr>
          <a:lstStyle/>
          <a:p>
            <a:pPr>
              <a:spcBef>
                <a:spcPts val="300"/>
              </a:spcBef>
              <a:buClr>
                <a:schemeClr val="tx2"/>
              </a:buClr>
            </a:pPr>
            <a:r>
              <a:rPr lang="en-US" sz="1600"/>
              <a:t>Development</a:t>
            </a:r>
          </a:p>
        </p:txBody>
      </p:sp>
      <p:sp>
        <p:nvSpPr>
          <p:cNvPr id="14" name="Rechteck 13">
            <a:extLst>
              <a:ext uri="{FF2B5EF4-FFF2-40B4-BE49-F238E27FC236}">
                <a16:creationId xmlns:a16="http://schemas.microsoft.com/office/drawing/2014/main" id="{B311453F-C592-46E4-AB06-CC4DFC2FDE66}"/>
              </a:ext>
            </a:extLst>
          </p:cNvPr>
          <p:cNvSpPr/>
          <p:nvPr/>
        </p:nvSpPr>
        <p:spPr>
          <a:xfrm>
            <a:off x="4547537" y="2731103"/>
            <a:ext cx="1086919" cy="780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5" name="Rechteck 14">
            <a:extLst>
              <a:ext uri="{FF2B5EF4-FFF2-40B4-BE49-F238E27FC236}">
                <a16:creationId xmlns:a16="http://schemas.microsoft.com/office/drawing/2014/main" id="{3380C03E-F369-46E9-A9C6-864408F2557A}"/>
              </a:ext>
            </a:extLst>
          </p:cNvPr>
          <p:cNvSpPr/>
          <p:nvPr/>
        </p:nvSpPr>
        <p:spPr>
          <a:xfrm>
            <a:off x="5891590" y="272739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180000">
              <a:spcBef>
                <a:spcPts val="300"/>
              </a:spcBef>
              <a:buFont typeface="Arial" panose="020B0604020202020204" pitchFamily="34" charset="0"/>
              <a:buChar char="•"/>
            </a:pPr>
            <a:endParaRPr lang="en-US" sz="1600"/>
          </a:p>
        </p:txBody>
      </p:sp>
      <p:sp>
        <p:nvSpPr>
          <p:cNvPr id="16" name="Rechteck 15">
            <a:extLst>
              <a:ext uri="{FF2B5EF4-FFF2-40B4-BE49-F238E27FC236}">
                <a16:creationId xmlns:a16="http://schemas.microsoft.com/office/drawing/2014/main" id="{333A8429-AB99-4456-B7B7-7B822B0526E2}"/>
              </a:ext>
            </a:extLst>
          </p:cNvPr>
          <p:cNvSpPr/>
          <p:nvPr/>
        </p:nvSpPr>
        <p:spPr>
          <a:xfrm>
            <a:off x="7235643" y="272369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indent="-180000">
              <a:spcBef>
                <a:spcPts val="300"/>
              </a:spcBef>
              <a:buFont typeface="Arial" panose="020B0604020202020204" pitchFamily="34" charset="0"/>
              <a:buChar char="•"/>
            </a:pPr>
            <a:endParaRPr lang="en-US" sz="1600"/>
          </a:p>
        </p:txBody>
      </p:sp>
      <p:sp>
        <p:nvSpPr>
          <p:cNvPr id="17" name="Rechteck 16">
            <a:extLst>
              <a:ext uri="{FF2B5EF4-FFF2-40B4-BE49-F238E27FC236}">
                <a16:creationId xmlns:a16="http://schemas.microsoft.com/office/drawing/2014/main" id="{41546CE3-9896-4B92-9B53-183DC2FA6F71}"/>
              </a:ext>
            </a:extLst>
          </p:cNvPr>
          <p:cNvSpPr/>
          <p:nvPr/>
        </p:nvSpPr>
        <p:spPr>
          <a:xfrm>
            <a:off x="8579696" y="271998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8" name="Rechteck 17">
            <a:extLst>
              <a:ext uri="{FF2B5EF4-FFF2-40B4-BE49-F238E27FC236}">
                <a16:creationId xmlns:a16="http://schemas.microsoft.com/office/drawing/2014/main" id="{EAE0E2E2-E3A4-49D0-BB78-6954BFCC7BB9}"/>
              </a:ext>
            </a:extLst>
          </p:cNvPr>
          <p:cNvSpPr/>
          <p:nvPr/>
        </p:nvSpPr>
        <p:spPr>
          <a:xfrm>
            <a:off x="9923749" y="271628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9" name="Textfeld 18">
            <a:extLst>
              <a:ext uri="{FF2B5EF4-FFF2-40B4-BE49-F238E27FC236}">
                <a16:creationId xmlns:a16="http://schemas.microsoft.com/office/drawing/2014/main" id="{29319A95-A713-4CC6-8280-8EA64A56DBDB}"/>
              </a:ext>
            </a:extLst>
          </p:cNvPr>
          <p:cNvSpPr txBox="1"/>
          <p:nvPr/>
        </p:nvSpPr>
        <p:spPr>
          <a:xfrm>
            <a:off x="6246856" y="3631944"/>
            <a:ext cx="376385" cy="246221"/>
          </a:xfrm>
          <a:prstGeom prst="rect">
            <a:avLst/>
          </a:prstGeom>
          <a:noFill/>
        </p:spPr>
        <p:txBody>
          <a:bodyPr wrap="none" lIns="0" tIns="0" rIns="0" bIns="0" rtlCol="0">
            <a:spAutoFit/>
          </a:bodyPr>
          <a:lstStyle/>
          <a:p>
            <a:pPr>
              <a:spcBef>
                <a:spcPts val="300"/>
              </a:spcBef>
              <a:buClr>
                <a:schemeClr val="tx2"/>
              </a:buClr>
            </a:pPr>
            <a:r>
              <a:rPr lang="en-US" sz="1600"/>
              <a:t>Test</a:t>
            </a:r>
          </a:p>
        </p:txBody>
      </p:sp>
      <p:sp>
        <p:nvSpPr>
          <p:cNvPr id="20" name="Textfeld 19">
            <a:extLst>
              <a:ext uri="{FF2B5EF4-FFF2-40B4-BE49-F238E27FC236}">
                <a16:creationId xmlns:a16="http://schemas.microsoft.com/office/drawing/2014/main" id="{DE70EEF3-0026-4B27-88A9-3739877ABFB0}"/>
              </a:ext>
            </a:extLst>
          </p:cNvPr>
          <p:cNvSpPr txBox="1"/>
          <p:nvPr/>
        </p:nvSpPr>
        <p:spPr>
          <a:xfrm>
            <a:off x="7590749" y="3631943"/>
            <a:ext cx="376706" cy="246221"/>
          </a:xfrm>
          <a:prstGeom prst="rect">
            <a:avLst/>
          </a:prstGeom>
          <a:noFill/>
        </p:spPr>
        <p:txBody>
          <a:bodyPr wrap="none" lIns="0" tIns="0" rIns="0" bIns="0" rtlCol="0">
            <a:spAutoFit/>
          </a:bodyPr>
          <a:lstStyle/>
          <a:p>
            <a:pPr>
              <a:spcBef>
                <a:spcPts val="300"/>
              </a:spcBef>
              <a:buClr>
                <a:schemeClr val="tx2"/>
              </a:buClr>
            </a:pPr>
            <a:r>
              <a:rPr lang="en-US" sz="1600"/>
              <a:t>Ops</a:t>
            </a:r>
          </a:p>
        </p:txBody>
      </p:sp>
      <p:sp>
        <p:nvSpPr>
          <p:cNvPr id="21" name="Textfeld 20">
            <a:extLst>
              <a:ext uri="{FF2B5EF4-FFF2-40B4-BE49-F238E27FC236}">
                <a16:creationId xmlns:a16="http://schemas.microsoft.com/office/drawing/2014/main" id="{A58769BA-6B3D-4C50-AB7B-364852B42F4F}"/>
              </a:ext>
            </a:extLst>
          </p:cNvPr>
          <p:cNvSpPr txBox="1"/>
          <p:nvPr/>
        </p:nvSpPr>
        <p:spPr>
          <a:xfrm>
            <a:off x="8934963" y="3628761"/>
            <a:ext cx="375103" cy="246221"/>
          </a:xfrm>
          <a:prstGeom prst="rect">
            <a:avLst/>
          </a:prstGeom>
          <a:noFill/>
        </p:spPr>
        <p:txBody>
          <a:bodyPr wrap="none" lIns="0" tIns="0" rIns="0" bIns="0" rtlCol="0">
            <a:spAutoFit/>
          </a:bodyPr>
          <a:lstStyle/>
          <a:p>
            <a:pPr>
              <a:spcBef>
                <a:spcPts val="300"/>
              </a:spcBef>
              <a:buClr>
                <a:schemeClr val="tx2"/>
              </a:buClr>
            </a:pPr>
            <a:r>
              <a:rPr lang="en-US" sz="1600"/>
              <a:t>Live</a:t>
            </a:r>
          </a:p>
        </p:txBody>
      </p:sp>
      <p:sp>
        <p:nvSpPr>
          <p:cNvPr id="22" name="Textfeld 21">
            <a:extLst>
              <a:ext uri="{FF2B5EF4-FFF2-40B4-BE49-F238E27FC236}">
                <a16:creationId xmlns:a16="http://schemas.microsoft.com/office/drawing/2014/main" id="{3FB02495-0B24-42DD-A632-E316EA4E2975}"/>
              </a:ext>
            </a:extLst>
          </p:cNvPr>
          <p:cNvSpPr txBox="1"/>
          <p:nvPr/>
        </p:nvSpPr>
        <p:spPr>
          <a:xfrm>
            <a:off x="10279177" y="3625579"/>
            <a:ext cx="511358" cy="246221"/>
          </a:xfrm>
          <a:prstGeom prst="rect">
            <a:avLst/>
          </a:prstGeom>
          <a:noFill/>
        </p:spPr>
        <p:txBody>
          <a:bodyPr wrap="none" lIns="0" tIns="0" rIns="0" bIns="0" rtlCol="0">
            <a:spAutoFit/>
          </a:bodyPr>
          <a:lstStyle/>
          <a:p>
            <a:pPr>
              <a:spcBef>
                <a:spcPts val="300"/>
              </a:spcBef>
              <a:buClr>
                <a:schemeClr val="tx2"/>
              </a:buClr>
            </a:pPr>
            <a:r>
              <a:rPr lang="en-US" sz="1600"/>
              <a:t>Sales</a:t>
            </a:r>
          </a:p>
        </p:txBody>
      </p:sp>
      <p:sp>
        <p:nvSpPr>
          <p:cNvPr id="23" name="Pfeil: nach rechts 22">
            <a:extLst>
              <a:ext uri="{FF2B5EF4-FFF2-40B4-BE49-F238E27FC236}">
                <a16:creationId xmlns:a16="http://schemas.microsoft.com/office/drawing/2014/main" id="{96FA92DD-3C07-460F-9E03-1C9EB7F53358}"/>
              </a:ext>
            </a:extLst>
          </p:cNvPr>
          <p:cNvSpPr/>
          <p:nvPr/>
        </p:nvSpPr>
        <p:spPr>
          <a:xfrm>
            <a:off x="1635372"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4" name="Pfeil: nach rechts 23">
            <a:extLst>
              <a:ext uri="{FF2B5EF4-FFF2-40B4-BE49-F238E27FC236}">
                <a16:creationId xmlns:a16="http://schemas.microsoft.com/office/drawing/2014/main" id="{D1F337EC-45B2-4D20-806B-6D4854DDB96D}"/>
              </a:ext>
            </a:extLst>
          </p:cNvPr>
          <p:cNvSpPr/>
          <p:nvPr/>
        </p:nvSpPr>
        <p:spPr>
          <a:xfrm>
            <a:off x="296884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5" name="Pfeil: nach rechts 24">
            <a:extLst>
              <a:ext uri="{FF2B5EF4-FFF2-40B4-BE49-F238E27FC236}">
                <a16:creationId xmlns:a16="http://schemas.microsoft.com/office/drawing/2014/main" id="{90CC8D58-1DC6-4B2C-8563-83F5A2BD658C}"/>
              </a:ext>
            </a:extLst>
          </p:cNvPr>
          <p:cNvSpPr/>
          <p:nvPr/>
        </p:nvSpPr>
        <p:spPr>
          <a:xfrm>
            <a:off x="4310697"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6" name="Pfeil: nach rechts 25">
            <a:extLst>
              <a:ext uri="{FF2B5EF4-FFF2-40B4-BE49-F238E27FC236}">
                <a16:creationId xmlns:a16="http://schemas.microsoft.com/office/drawing/2014/main" id="{8A8651CD-3724-4422-9B7B-8B68C4CD5488}"/>
              </a:ext>
            </a:extLst>
          </p:cNvPr>
          <p:cNvSpPr/>
          <p:nvPr/>
        </p:nvSpPr>
        <p:spPr>
          <a:xfrm>
            <a:off x="566094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7" name="Pfeil: nach rechts 26">
            <a:extLst>
              <a:ext uri="{FF2B5EF4-FFF2-40B4-BE49-F238E27FC236}">
                <a16:creationId xmlns:a16="http://schemas.microsoft.com/office/drawing/2014/main" id="{E5F78844-8199-456D-96AA-6CF6453F57EC}"/>
              </a:ext>
            </a:extLst>
          </p:cNvPr>
          <p:cNvSpPr/>
          <p:nvPr/>
        </p:nvSpPr>
        <p:spPr>
          <a:xfrm>
            <a:off x="700280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8" name="Pfeil: nach rechts 27">
            <a:extLst>
              <a:ext uri="{FF2B5EF4-FFF2-40B4-BE49-F238E27FC236}">
                <a16:creationId xmlns:a16="http://schemas.microsoft.com/office/drawing/2014/main" id="{4975E0F5-BF7E-4CD6-B359-269EA3F076FC}"/>
              </a:ext>
            </a:extLst>
          </p:cNvPr>
          <p:cNvSpPr/>
          <p:nvPr/>
        </p:nvSpPr>
        <p:spPr>
          <a:xfrm>
            <a:off x="8336268"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9" name="Pfeil: nach rechts 28">
            <a:extLst>
              <a:ext uri="{FF2B5EF4-FFF2-40B4-BE49-F238E27FC236}">
                <a16:creationId xmlns:a16="http://schemas.microsoft.com/office/drawing/2014/main" id="{FCEE24BF-A46B-4BF8-B25D-7644E328FF90}"/>
              </a:ext>
            </a:extLst>
          </p:cNvPr>
          <p:cNvSpPr/>
          <p:nvPr/>
        </p:nvSpPr>
        <p:spPr>
          <a:xfrm>
            <a:off x="969490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5" name="Textfeld 4">
            <a:extLst>
              <a:ext uri="{FF2B5EF4-FFF2-40B4-BE49-F238E27FC236}">
                <a16:creationId xmlns:a16="http://schemas.microsoft.com/office/drawing/2014/main" id="{7FB66692-C510-47D8-9323-098C2E1AA07E}"/>
              </a:ext>
            </a:extLst>
          </p:cNvPr>
          <p:cNvSpPr txBox="1"/>
          <p:nvPr/>
        </p:nvSpPr>
        <p:spPr>
          <a:xfrm>
            <a:off x="515378" y="4724624"/>
            <a:ext cx="7452077" cy="1346522"/>
          </a:xfrm>
          <a:prstGeom prst="rect">
            <a:avLst/>
          </a:prstGeom>
          <a:noFill/>
        </p:spPr>
        <p:txBody>
          <a:bodyPr wrap="square" lIns="0" tIns="0" rIns="0" bIns="0" rtlCol="0">
            <a:spAutoFit/>
          </a:bodyPr>
          <a:lstStyle/>
          <a:p>
            <a:pPr>
              <a:spcBef>
                <a:spcPts val="300"/>
              </a:spcBef>
              <a:buClr>
                <a:schemeClr val="tx2"/>
              </a:buClr>
            </a:pPr>
            <a:r>
              <a:rPr lang="en-US" sz="1600"/>
              <a:t>No enhancements in innovation, delivery speed, quality.</a:t>
            </a:r>
          </a:p>
          <a:p>
            <a:pPr>
              <a:spcBef>
                <a:spcPts val="300"/>
              </a:spcBef>
              <a:buClr>
                <a:schemeClr val="tx2"/>
              </a:buClr>
            </a:pPr>
            <a:endParaRPr lang="en-US" sz="1600"/>
          </a:p>
          <a:p>
            <a:pPr>
              <a:spcBef>
                <a:spcPts val="300"/>
              </a:spcBef>
              <a:buClr>
                <a:schemeClr val="tx2"/>
              </a:buClr>
            </a:pPr>
            <a:r>
              <a:rPr lang="en-US" sz="1600"/>
              <a:t>We made development the epicenter to revolutionize our delivery approach.</a:t>
            </a:r>
          </a:p>
          <a:p>
            <a:pPr>
              <a:spcBef>
                <a:spcPts val="300"/>
              </a:spcBef>
              <a:buClr>
                <a:schemeClr val="tx2"/>
              </a:buClr>
            </a:pPr>
            <a:r>
              <a:rPr lang="en-US" sz="1600"/>
              <a:t>Change in one area yields into disharmonization of the surrounding areas. You can solve this either by revoking the change (easy) or extending the change (hard).</a:t>
            </a:r>
          </a:p>
        </p:txBody>
      </p:sp>
    </p:spTree>
    <p:extLst>
      <p:ext uri="{BB962C8B-B14F-4D97-AF65-F5344CB8AC3E}">
        <p14:creationId xmlns:p14="http://schemas.microsoft.com/office/powerpoint/2010/main" val="1655562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Step by step, the delivery process gets optimized by employing agile principles</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19</a:t>
            </a:fld>
            <a:endParaRPr lang="en-US"/>
          </a:p>
        </p:txBody>
      </p:sp>
      <p:pic>
        <p:nvPicPr>
          <p:cNvPr id="6" name="Grafik 5">
            <a:extLst>
              <a:ext uri="{FF2B5EF4-FFF2-40B4-BE49-F238E27FC236}">
                <a16:creationId xmlns:a16="http://schemas.microsoft.com/office/drawing/2014/main" id="{DAB9C7FB-15DC-4BBC-9944-083E3618D8C3}"/>
              </a:ext>
            </a:extLst>
          </p:cNvPr>
          <p:cNvPicPr>
            <a:picLocks noChangeAspect="1"/>
          </p:cNvPicPr>
          <p:nvPr/>
        </p:nvPicPr>
        <p:blipFill>
          <a:blip r:embed="rId2"/>
          <a:stretch>
            <a:fillRect/>
          </a:stretch>
        </p:blipFill>
        <p:spPr>
          <a:xfrm rot="387779">
            <a:off x="9208579" y="4630007"/>
            <a:ext cx="2652554" cy="1552714"/>
          </a:xfrm>
          <a:prstGeom prst="rect">
            <a:avLst/>
          </a:prstGeom>
          <a:ln>
            <a:solidFill>
              <a:schemeClr val="tx1"/>
            </a:solidFill>
          </a:ln>
        </p:spPr>
      </p:pic>
      <p:sp>
        <p:nvSpPr>
          <p:cNvPr id="7" name="Rechteck 6">
            <a:extLst>
              <a:ext uri="{FF2B5EF4-FFF2-40B4-BE49-F238E27FC236}">
                <a16:creationId xmlns:a16="http://schemas.microsoft.com/office/drawing/2014/main" id="{7705C9C0-2F33-4AA9-B94D-10237032753B}"/>
              </a:ext>
            </a:extLst>
          </p:cNvPr>
          <p:cNvSpPr/>
          <p:nvPr/>
        </p:nvSpPr>
        <p:spPr>
          <a:xfrm>
            <a:off x="515378" y="2734810"/>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Rechteck 7">
            <a:extLst>
              <a:ext uri="{FF2B5EF4-FFF2-40B4-BE49-F238E27FC236}">
                <a16:creationId xmlns:a16="http://schemas.microsoft.com/office/drawing/2014/main" id="{00AAA7D4-7F30-4F7E-93AD-E29983620743}"/>
              </a:ext>
            </a:extLst>
          </p:cNvPr>
          <p:cNvSpPr/>
          <p:nvPr/>
        </p:nvSpPr>
        <p:spPr>
          <a:xfrm>
            <a:off x="1859431" y="2734809"/>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9" name="Rechteck 8">
            <a:extLst>
              <a:ext uri="{FF2B5EF4-FFF2-40B4-BE49-F238E27FC236}">
                <a16:creationId xmlns:a16="http://schemas.microsoft.com/office/drawing/2014/main" id="{485304C4-CA6A-4CE0-9D3C-751250515E5C}"/>
              </a:ext>
            </a:extLst>
          </p:cNvPr>
          <p:cNvSpPr/>
          <p:nvPr/>
        </p:nvSpPr>
        <p:spPr>
          <a:xfrm>
            <a:off x="3203484" y="2734808"/>
            <a:ext cx="1086919" cy="780177"/>
          </a:xfrm>
          <a:prstGeom prst="rect">
            <a:avLst/>
          </a:prstGeom>
          <a:solidFill>
            <a:srgbClr val="82A1A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0" name="Textfeld 9">
            <a:extLst>
              <a:ext uri="{FF2B5EF4-FFF2-40B4-BE49-F238E27FC236}">
                <a16:creationId xmlns:a16="http://schemas.microsoft.com/office/drawing/2014/main" id="{16B5F6A5-3232-4801-80D8-49D67DFE1EE6}"/>
              </a:ext>
            </a:extLst>
          </p:cNvPr>
          <p:cNvSpPr txBox="1"/>
          <p:nvPr/>
        </p:nvSpPr>
        <p:spPr>
          <a:xfrm>
            <a:off x="676520" y="3653472"/>
            <a:ext cx="764633" cy="246221"/>
          </a:xfrm>
          <a:prstGeom prst="rect">
            <a:avLst/>
          </a:prstGeom>
          <a:noFill/>
        </p:spPr>
        <p:txBody>
          <a:bodyPr wrap="none" lIns="0" tIns="0" rIns="0" bIns="0" rtlCol="0">
            <a:spAutoFit/>
          </a:bodyPr>
          <a:lstStyle/>
          <a:p>
            <a:pPr>
              <a:spcBef>
                <a:spcPts val="300"/>
              </a:spcBef>
              <a:buClr>
                <a:schemeClr val="tx2"/>
              </a:buClr>
            </a:pPr>
            <a:r>
              <a:rPr lang="en-US" sz="1600"/>
              <a:t>Strategy</a:t>
            </a:r>
          </a:p>
        </p:txBody>
      </p:sp>
      <p:sp>
        <p:nvSpPr>
          <p:cNvPr id="11" name="Textfeld 10">
            <a:extLst>
              <a:ext uri="{FF2B5EF4-FFF2-40B4-BE49-F238E27FC236}">
                <a16:creationId xmlns:a16="http://schemas.microsoft.com/office/drawing/2014/main" id="{8F160DAA-F038-4E60-9685-A6F919E712BA}"/>
              </a:ext>
            </a:extLst>
          </p:cNvPr>
          <p:cNvSpPr txBox="1"/>
          <p:nvPr/>
        </p:nvSpPr>
        <p:spPr>
          <a:xfrm>
            <a:off x="2038206" y="3666744"/>
            <a:ext cx="729367" cy="246221"/>
          </a:xfrm>
          <a:prstGeom prst="rect">
            <a:avLst/>
          </a:prstGeom>
          <a:noFill/>
        </p:spPr>
        <p:txBody>
          <a:bodyPr wrap="none" lIns="0" tIns="0" rIns="0" bIns="0" rtlCol="0">
            <a:spAutoFit/>
          </a:bodyPr>
          <a:lstStyle/>
          <a:p>
            <a:pPr>
              <a:spcBef>
                <a:spcPts val="300"/>
              </a:spcBef>
              <a:buClr>
                <a:schemeClr val="tx2"/>
              </a:buClr>
            </a:pPr>
            <a:r>
              <a:rPr lang="en-US" sz="1600"/>
              <a:t>Ideation</a:t>
            </a:r>
          </a:p>
        </p:txBody>
      </p:sp>
      <p:sp>
        <p:nvSpPr>
          <p:cNvPr id="12" name="Textfeld 11">
            <a:extLst>
              <a:ext uri="{FF2B5EF4-FFF2-40B4-BE49-F238E27FC236}">
                <a16:creationId xmlns:a16="http://schemas.microsoft.com/office/drawing/2014/main" id="{AA0BD78E-4C04-4216-977E-61028CC363C7}"/>
              </a:ext>
            </a:extLst>
          </p:cNvPr>
          <p:cNvSpPr txBox="1"/>
          <p:nvPr/>
        </p:nvSpPr>
        <p:spPr>
          <a:xfrm>
            <a:off x="3229173" y="3649344"/>
            <a:ext cx="1035540" cy="246221"/>
          </a:xfrm>
          <a:prstGeom prst="rect">
            <a:avLst/>
          </a:prstGeom>
          <a:noFill/>
        </p:spPr>
        <p:txBody>
          <a:bodyPr wrap="none" lIns="0" tIns="0" rIns="0" bIns="0" rtlCol="0">
            <a:spAutoFit/>
          </a:bodyPr>
          <a:lstStyle/>
          <a:p>
            <a:pPr>
              <a:spcBef>
                <a:spcPts val="300"/>
              </a:spcBef>
              <a:buClr>
                <a:schemeClr val="tx2"/>
              </a:buClr>
            </a:pPr>
            <a:r>
              <a:rPr lang="en-US" sz="1600"/>
              <a:t>Conception</a:t>
            </a:r>
          </a:p>
        </p:txBody>
      </p:sp>
      <p:sp>
        <p:nvSpPr>
          <p:cNvPr id="13" name="Textfeld 12">
            <a:extLst>
              <a:ext uri="{FF2B5EF4-FFF2-40B4-BE49-F238E27FC236}">
                <a16:creationId xmlns:a16="http://schemas.microsoft.com/office/drawing/2014/main" id="{0D74FD27-1A85-4FC6-AF4D-F0D38733EB0D}"/>
              </a:ext>
            </a:extLst>
          </p:cNvPr>
          <p:cNvSpPr txBox="1"/>
          <p:nvPr/>
        </p:nvSpPr>
        <p:spPr>
          <a:xfrm>
            <a:off x="4487465" y="3631944"/>
            <a:ext cx="1207062" cy="246221"/>
          </a:xfrm>
          <a:prstGeom prst="rect">
            <a:avLst/>
          </a:prstGeom>
          <a:noFill/>
        </p:spPr>
        <p:txBody>
          <a:bodyPr wrap="none" lIns="0" tIns="0" rIns="0" bIns="0" rtlCol="0">
            <a:spAutoFit/>
          </a:bodyPr>
          <a:lstStyle/>
          <a:p>
            <a:pPr>
              <a:spcBef>
                <a:spcPts val="300"/>
              </a:spcBef>
              <a:buClr>
                <a:schemeClr val="tx2"/>
              </a:buClr>
            </a:pPr>
            <a:r>
              <a:rPr lang="en-US" sz="1600"/>
              <a:t>Development</a:t>
            </a:r>
          </a:p>
        </p:txBody>
      </p:sp>
      <p:sp>
        <p:nvSpPr>
          <p:cNvPr id="14" name="Rechteck 13">
            <a:extLst>
              <a:ext uri="{FF2B5EF4-FFF2-40B4-BE49-F238E27FC236}">
                <a16:creationId xmlns:a16="http://schemas.microsoft.com/office/drawing/2014/main" id="{B311453F-C592-46E4-AB06-CC4DFC2FDE66}"/>
              </a:ext>
            </a:extLst>
          </p:cNvPr>
          <p:cNvSpPr/>
          <p:nvPr/>
        </p:nvSpPr>
        <p:spPr>
          <a:xfrm>
            <a:off x="4547537" y="2731103"/>
            <a:ext cx="1086919" cy="780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5" name="Rechteck 14">
            <a:extLst>
              <a:ext uri="{FF2B5EF4-FFF2-40B4-BE49-F238E27FC236}">
                <a16:creationId xmlns:a16="http://schemas.microsoft.com/office/drawing/2014/main" id="{3380C03E-F369-46E9-A9C6-864408F2557A}"/>
              </a:ext>
            </a:extLst>
          </p:cNvPr>
          <p:cNvSpPr/>
          <p:nvPr/>
        </p:nvSpPr>
        <p:spPr>
          <a:xfrm>
            <a:off x="5891590" y="2727398"/>
            <a:ext cx="1086919" cy="780177"/>
          </a:xfrm>
          <a:prstGeom prst="rect">
            <a:avLst/>
          </a:prstGeom>
          <a:solidFill>
            <a:srgbClr val="82A1A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6" name="Rechteck 15">
            <a:extLst>
              <a:ext uri="{FF2B5EF4-FFF2-40B4-BE49-F238E27FC236}">
                <a16:creationId xmlns:a16="http://schemas.microsoft.com/office/drawing/2014/main" id="{333A8429-AB99-4456-B7B7-7B822B0526E2}"/>
              </a:ext>
            </a:extLst>
          </p:cNvPr>
          <p:cNvSpPr/>
          <p:nvPr/>
        </p:nvSpPr>
        <p:spPr>
          <a:xfrm>
            <a:off x="7235643" y="2723693"/>
            <a:ext cx="1086919" cy="780177"/>
          </a:xfrm>
          <a:prstGeom prst="rect">
            <a:avLst/>
          </a:prstGeom>
          <a:solidFill>
            <a:srgbClr val="82A1A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7" name="Rechteck 16">
            <a:extLst>
              <a:ext uri="{FF2B5EF4-FFF2-40B4-BE49-F238E27FC236}">
                <a16:creationId xmlns:a16="http://schemas.microsoft.com/office/drawing/2014/main" id="{41546CE3-9896-4B92-9B53-183DC2FA6F71}"/>
              </a:ext>
            </a:extLst>
          </p:cNvPr>
          <p:cNvSpPr/>
          <p:nvPr/>
        </p:nvSpPr>
        <p:spPr>
          <a:xfrm>
            <a:off x="8579696" y="2719988"/>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8" name="Rechteck 17">
            <a:extLst>
              <a:ext uri="{FF2B5EF4-FFF2-40B4-BE49-F238E27FC236}">
                <a16:creationId xmlns:a16="http://schemas.microsoft.com/office/drawing/2014/main" id="{EAE0E2E2-E3A4-49D0-BB78-6954BFCC7BB9}"/>
              </a:ext>
            </a:extLst>
          </p:cNvPr>
          <p:cNvSpPr/>
          <p:nvPr/>
        </p:nvSpPr>
        <p:spPr>
          <a:xfrm>
            <a:off x="9923749" y="2716283"/>
            <a:ext cx="1086919" cy="78017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9" name="Textfeld 18">
            <a:extLst>
              <a:ext uri="{FF2B5EF4-FFF2-40B4-BE49-F238E27FC236}">
                <a16:creationId xmlns:a16="http://schemas.microsoft.com/office/drawing/2014/main" id="{29319A95-A713-4CC6-8280-8EA64A56DBDB}"/>
              </a:ext>
            </a:extLst>
          </p:cNvPr>
          <p:cNvSpPr txBox="1"/>
          <p:nvPr/>
        </p:nvSpPr>
        <p:spPr>
          <a:xfrm>
            <a:off x="6246856" y="3631944"/>
            <a:ext cx="376385" cy="246221"/>
          </a:xfrm>
          <a:prstGeom prst="rect">
            <a:avLst/>
          </a:prstGeom>
          <a:noFill/>
        </p:spPr>
        <p:txBody>
          <a:bodyPr wrap="none" lIns="0" tIns="0" rIns="0" bIns="0" rtlCol="0">
            <a:spAutoFit/>
          </a:bodyPr>
          <a:lstStyle/>
          <a:p>
            <a:pPr>
              <a:spcBef>
                <a:spcPts val="300"/>
              </a:spcBef>
              <a:buClr>
                <a:schemeClr val="tx2"/>
              </a:buClr>
            </a:pPr>
            <a:r>
              <a:rPr lang="en-US" sz="1600"/>
              <a:t>Test</a:t>
            </a:r>
          </a:p>
        </p:txBody>
      </p:sp>
      <p:sp>
        <p:nvSpPr>
          <p:cNvPr id="20" name="Textfeld 19">
            <a:extLst>
              <a:ext uri="{FF2B5EF4-FFF2-40B4-BE49-F238E27FC236}">
                <a16:creationId xmlns:a16="http://schemas.microsoft.com/office/drawing/2014/main" id="{DE70EEF3-0026-4B27-88A9-3739877ABFB0}"/>
              </a:ext>
            </a:extLst>
          </p:cNvPr>
          <p:cNvSpPr txBox="1"/>
          <p:nvPr/>
        </p:nvSpPr>
        <p:spPr>
          <a:xfrm>
            <a:off x="7590749" y="3631943"/>
            <a:ext cx="376706" cy="246221"/>
          </a:xfrm>
          <a:prstGeom prst="rect">
            <a:avLst/>
          </a:prstGeom>
          <a:noFill/>
        </p:spPr>
        <p:txBody>
          <a:bodyPr wrap="none" lIns="0" tIns="0" rIns="0" bIns="0" rtlCol="0">
            <a:spAutoFit/>
          </a:bodyPr>
          <a:lstStyle/>
          <a:p>
            <a:pPr>
              <a:spcBef>
                <a:spcPts val="300"/>
              </a:spcBef>
              <a:buClr>
                <a:schemeClr val="tx2"/>
              </a:buClr>
            </a:pPr>
            <a:r>
              <a:rPr lang="en-US" sz="1600"/>
              <a:t>Ops</a:t>
            </a:r>
          </a:p>
        </p:txBody>
      </p:sp>
      <p:sp>
        <p:nvSpPr>
          <p:cNvPr id="21" name="Textfeld 20">
            <a:extLst>
              <a:ext uri="{FF2B5EF4-FFF2-40B4-BE49-F238E27FC236}">
                <a16:creationId xmlns:a16="http://schemas.microsoft.com/office/drawing/2014/main" id="{A58769BA-6B3D-4C50-AB7B-364852B42F4F}"/>
              </a:ext>
            </a:extLst>
          </p:cNvPr>
          <p:cNvSpPr txBox="1"/>
          <p:nvPr/>
        </p:nvSpPr>
        <p:spPr>
          <a:xfrm>
            <a:off x="8934963" y="3628761"/>
            <a:ext cx="375103" cy="246221"/>
          </a:xfrm>
          <a:prstGeom prst="rect">
            <a:avLst/>
          </a:prstGeom>
          <a:noFill/>
        </p:spPr>
        <p:txBody>
          <a:bodyPr wrap="none" lIns="0" tIns="0" rIns="0" bIns="0" rtlCol="0">
            <a:spAutoFit/>
          </a:bodyPr>
          <a:lstStyle/>
          <a:p>
            <a:pPr>
              <a:spcBef>
                <a:spcPts val="300"/>
              </a:spcBef>
              <a:buClr>
                <a:schemeClr val="tx2"/>
              </a:buClr>
            </a:pPr>
            <a:r>
              <a:rPr lang="en-US" sz="1600"/>
              <a:t>Live</a:t>
            </a:r>
          </a:p>
        </p:txBody>
      </p:sp>
      <p:sp>
        <p:nvSpPr>
          <p:cNvPr id="22" name="Textfeld 21">
            <a:extLst>
              <a:ext uri="{FF2B5EF4-FFF2-40B4-BE49-F238E27FC236}">
                <a16:creationId xmlns:a16="http://schemas.microsoft.com/office/drawing/2014/main" id="{3FB02495-0B24-42DD-A632-E316EA4E2975}"/>
              </a:ext>
            </a:extLst>
          </p:cNvPr>
          <p:cNvSpPr txBox="1"/>
          <p:nvPr/>
        </p:nvSpPr>
        <p:spPr>
          <a:xfrm>
            <a:off x="10279177" y="3625579"/>
            <a:ext cx="511358" cy="246221"/>
          </a:xfrm>
          <a:prstGeom prst="rect">
            <a:avLst/>
          </a:prstGeom>
          <a:noFill/>
        </p:spPr>
        <p:txBody>
          <a:bodyPr wrap="none" lIns="0" tIns="0" rIns="0" bIns="0" rtlCol="0">
            <a:spAutoFit/>
          </a:bodyPr>
          <a:lstStyle/>
          <a:p>
            <a:pPr>
              <a:spcBef>
                <a:spcPts val="300"/>
              </a:spcBef>
              <a:buClr>
                <a:schemeClr val="tx2"/>
              </a:buClr>
            </a:pPr>
            <a:r>
              <a:rPr lang="en-US" sz="1600"/>
              <a:t>Sales</a:t>
            </a:r>
          </a:p>
        </p:txBody>
      </p:sp>
      <p:sp>
        <p:nvSpPr>
          <p:cNvPr id="23" name="Pfeil: nach rechts 22">
            <a:extLst>
              <a:ext uri="{FF2B5EF4-FFF2-40B4-BE49-F238E27FC236}">
                <a16:creationId xmlns:a16="http://schemas.microsoft.com/office/drawing/2014/main" id="{96FA92DD-3C07-460F-9E03-1C9EB7F53358}"/>
              </a:ext>
            </a:extLst>
          </p:cNvPr>
          <p:cNvSpPr/>
          <p:nvPr/>
        </p:nvSpPr>
        <p:spPr>
          <a:xfrm>
            <a:off x="1635372"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4" name="Pfeil: nach rechts 23">
            <a:extLst>
              <a:ext uri="{FF2B5EF4-FFF2-40B4-BE49-F238E27FC236}">
                <a16:creationId xmlns:a16="http://schemas.microsoft.com/office/drawing/2014/main" id="{D1F337EC-45B2-4D20-806B-6D4854DDB96D}"/>
              </a:ext>
            </a:extLst>
          </p:cNvPr>
          <p:cNvSpPr/>
          <p:nvPr/>
        </p:nvSpPr>
        <p:spPr>
          <a:xfrm>
            <a:off x="296884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5" name="Pfeil: nach rechts 24">
            <a:extLst>
              <a:ext uri="{FF2B5EF4-FFF2-40B4-BE49-F238E27FC236}">
                <a16:creationId xmlns:a16="http://schemas.microsoft.com/office/drawing/2014/main" id="{90CC8D58-1DC6-4B2C-8563-83F5A2BD658C}"/>
              </a:ext>
            </a:extLst>
          </p:cNvPr>
          <p:cNvSpPr/>
          <p:nvPr/>
        </p:nvSpPr>
        <p:spPr>
          <a:xfrm>
            <a:off x="4310697"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6" name="Pfeil: nach rechts 25">
            <a:extLst>
              <a:ext uri="{FF2B5EF4-FFF2-40B4-BE49-F238E27FC236}">
                <a16:creationId xmlns:a16="http://schemas.microsoft.com/office/drawing/2014/main" id="{8A8651CD-3724-4422-9B7B-8B68C4CD5488}"/>
              </a:ext>
            </a:extLst>
          </p:cNvPr>
          <p:cNvSpPr/>
          <p:nvPr/>
        </p:nvSpPr>
        <p:spPr>
          <a:xfrm>
            <a:off x="566094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7" name="Pfeil: nach rechts 26">
            <a:extLst>
              <a:ext uri="{FF2B5EF4-FFF2-40B4-BE49-F238E27FC236}">
                <a16:creationId xmlns:a16="http://schemas.microsoft.com/office/drawing/2014/main" id="{E5F78844-8199-456D-96AA-6CF6453F57EC}"/>
              </a:ext>
            </a:extLst>
          </p:cNvPr>
          <p:cNvSpPr/>
          <p:nvPr/>
        </p:nvSpPr>
        <p:spPr>
          <a:xfrm>
            <a:off x="7002800"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8" name="Pfeil: nach rechts 27">
            <a:extLst>
              <a:ext uri="{FF2B5EF4-FFF2-40B4-BE49-F238E27FC236}">
                <a16:creationId xmlns:a16="http://schemas.microsoft.com/office/drawing/2014/main" id="{4975E0F5-BF7E-4CD6-B359-269EA3F076FC}"/>
              </a:ext>
            </a:extLst>
          </p:cNvPr>
          <p:cNvSpPr/>
          <p:nvPr/>
        </p:nvSpPr>
        <p:spPr>
          <a:xfrm>
            <a:off x="8336268"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29" name="Pfeil: nach rechts 28">
            <a:extLst>
              <a:ext uri="{FF2B5EF4-FFF2-40B4-BE49-F238E27FC236}">
                <a16:creationId xmlns:a16="http://schemas.microsoft.com/office/drawing/2014/main" id="{FCEE24BF-A46B-4BF8-B25D-7644E328FF90}"/>
              </a:ext>
            </a:extLst>
          </p:cNvPr>
          <p:cNvSpPr/>
          <p:nvPr/>
        </p:nvSpPr>
        <p:spPr>
          <a:xfrm>
            <a:off x="9694903" y="3034648"/>
            <a:ext cx="212154" cy="23916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5" name="Textfeld 4">
            <a:extLst>
              <a:ext uri="{FF2B5EF4-FFF2-40B4-BE49-F238E27FC236}">
                <a16:creationId xmlns:a16="http://schemas.microsoft.com/office/drawing/2014/main" id="{7FB66692-C510-47D8-9323-098C2E1AA07E}"/>
              </a:ext>
            </a:extLst>
          </p:cNvPr>
          <p:cNvSpPr txBox="1"/>
          <p:nvPr/>
        </p:nvSpPr>
        <p:spPr>
          <a:xfrm>
            <a:off x="515378" y="4724624"/>
            <a:ext cx="8007000" cy="815608"/>
          </a:xfrm>
          <a:prstGeom prst="rect">
            <a:avLst/>
          </a:prstGeom>
          <a:noFill/>
        </p:spPr>
        <p:txBody>
          <a:bodyPr wrap="none" lIns="0" tIns="0" rIns="0" bIns="0" rtlCol="0">
            <a:spAutoFit/>
          </a:bodyPr>
          <a:lstStyle/>
          <a:p>
            <a:pPr>
              <a:spcBef>
                <a:spcPts val="300"/>
              </a:spcBef>
              <a:buClr>
                <a:schemeClr val="tx2"/>
              </a:buClr>
            </a:pPr>
            <a:r>
              <a:rPr lang="en-US" sz="1600"/>
              <a:t>Agility successively expands into conception, test, ops.</a:t>
            </a:r>
          </a:p>
          <a:p>
            <a:pPr>
              <a:spcBef>
                <a:spcPts val="300"/>
              </a:spcBef>
              <a:buClr>
                <a:schemeClr val="tx2"/>
              </a:buClr>
            </a:pPr>
            <a:r>
              <a:rPr lang="en-US" sz="1600"/>
              <a:t>With aligning and blurring these steps, for the first time we saw ‚flow‘ in our organization.</a:t>
            </a:r>
          </a:p>
          <a:p>
            <a:pPr>
              <a:spcBef>
                <a:spcPts val="300"/>
              </a:spcBef>
              <a:buClr>
                <a:schemeClr val="tx2"/>
              </a:buClr>
            </a:pPr>
            <a:r>
              <a:rPr lang="en-US" sz="1600"/>
              <a:t>DevOps principles helped us to align the different disciplines.</a:t>
            </a:r>
          </a:p>
        </p:txBody>
      </p:sp>
    </p:spTree>
    <p:extLst>
      <p:ext uri="{BB962C8B-B14F-4D97-AF65-F5344CB8AC3E}">
        <p14:creationId xmlns:p14="http://schemas.microsoft.com/office/powerpoint/2010/main" val="3006564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Timing</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2</a:t>
            </a:fld>
            <a:endParaRPr lang="de-DE"/>
          </a:p>
        </p:txBody>
      </p:sp>
      <p:pic>
        <p:nvPicPr>
          <p:cNvPr id="5" name="Grafik 4">
            <a:extLst>
              <a:ext uri="{FF2B5EF4-FFF2-40B4-BE49-F238E27FC236}">
                <a16:creationId xmlns:a16="http://schemas.microsoft.com/office/drawing/2014/main" id="{9CCD80C2-5749-4CF3-918B-FBA985A6825C}"/>
              </a:ext>
            </a:extLst>
          </p:cNvPr>
          <p:cNvPicPr>
            <a:picLocks noChangeAspect="1"/>
          </p:cNvPicPr>
          <p:nvPr/>
        </p:nvPicPr>
        <p:blipFill rotWithShape="1">
          <a:blip r:embed="rId2"/>
          <a:srcRect t="7520"/>
          <a:stretch/>
        </p:blipFill>
        <p:spPr>
          <a:xfrm>
            <a:off x="6883401" y="125234"/>
            <a:ext cx="5308599" cy="6607532"/>
          </a:xfrm>
          <a:prstGeom prst="rect">
            <a:avLst/>
          </a:prstGeom>
        </p:spPr>
      </p:pic>
    </p:spTree>
    <p:extLst>
      <p:ext uri="{BB962C8B-B14F-4D97-AF65-F5344CB8AC3E}">
        <p14:creationId xmlns:p14="http://schemas.microsoft.com/office/powerpoint/2010/main" val="1235930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Our approach to DevOps</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20</a:t>
            </a:fld>
            <a:endParaRPr lang="en-US"/>
          </a:p>
        </p:txBody>
      </p:sp>
      <p:sp>
        <p:nvSpPr>
          <p:cNvPr id="5" name="Textplatzhalter 4">
            <a:extLst>
              <a:ext uri="{FF2B5EF4-FFF2-40B4-BE49-F238E27FC236}">
                <a16:creationId xmlns:a16="http://schemas.microsoft.com/office/drawing/2014/main" id="{651112E0-6554-4103-91E0-AC0FAAEEE48F}"/>
              </a:ext>
            </a:extLst>
          </p:cNvPr>
          <p:cNvSpPr>
            <a:spLocks noGrp="1"/>
          </p:cNvSpPr>
          <p:nvPr>
            <p:ph type="body" sz="quarter" idx="13"/>
          </p:nvPr>
        </p:nvSpPr>
        <p:spPr/>
        <p:txBody>
          <a:bodyPr/>
          <a:lstStyle/>
          <a:p>
            <a:r>
              <a:rPr lang="en-US"/>
              <a:t>DevOps is </a:t>
            </a:r>
            <a:r>
              <a:rPr lang="en-US" i="1"/>
              <a:t>the</a:t>
            </a:r>
            <a:r>
              <a:rPr lang="en-US"/>
              <a:t> complementary concept to Agile for us.</a:t>
            </a:r>
          </a:p>
          <a:p>
            <a:r>
              <a:rPr lang="en-US"/>
              <a:t>The three ways as the underpinning principles give the optimized agile process its purpose:</a:t>
            </a:r>
          </a:p>
        </p:txBody>
      </p:sp>
      <p:pic>
        <p:nvPicPr>
          <p:cNvPr id="4" name="Grafik 3">
            <a:extLst>
              <a:ext uri="{FF2B5EF4-FFF2-40B4-BE49-F238E27FC236}">
                <a16:creationId xmlns:a16="http://schemas.microsoft.com/office/drawing/2014/main" id="{E4769E91-2C37-4859-9E27-2DBAAACD5952}"/>
              </a:ext>
            </a:extLst>
          </p:cNvPr>
          <p:cNvPicPr>
            <a:picLocks noChangeAspect="1"/>
          </p:cNvPicPr>
          <p:nvPr/>
        </p:nvPicPr>
        <p:blipFill>
          <a:blip r:embed="rId2"/>
          <a:stretch>
            <a:fillRect/>
          </a:stretch>
        </p:blipFill>
        <p:spPr>
          <a:xfrm rot="247745">
            <a:off x="8863073" y="4190647"/>
            <a:ext cx="2843426" cy="2014268"/>
          </a:xfrm>
          <a:prstGeom prst="rect">
            <a:avLst/>
          </a:prstGeom>
          <a:ln>
            <a:solidFill>
              <a:schemeClr val="tx1"/>
            </a:solidFill>
          </a:ln>
        </p:spPr>
      </p:pic>
      <p:pic>
        <p:nvPicPr>
          <p:cNvPr id="31" name="Grafik 30">
            <a:extLst>
              <a:ext uri="{FF2B5EF4-FFF2-40B4-BE49-F238E27FC236}">
                <a16:creationId xmlns:a16="http://schemas.microsoft.com/office/drawing/2014/main" id="{542581C9-4C5F-4241-9CAF-9A40FD65EACB}"/>
              </a:ext>
            </a:extLst>
          </p:cNvPr>
          <p:cNvPicPr>
            <a:picLocks noChangeAspect="1"/>
          </p:cNvPicPr>
          <p:nvPr/>
        </p:nvPicPr>
        <p:blipFill>
          <a:blip r:embed="rId3"/>
          <a:stretch>
            <a:fillRect/>
          </a:stretch>
        </p:blipFill>
        <p:spPr>
          <a:xfrm>
            <a:off x="3183062" y="2821145"/>
            <a:ext cx="4534810" cy="2539494"/>
          </a:xfrm>
          <a:prstGeom prst="rect">
            <a:avLst/>
          </a:prstGeom>
        </p:spPr>
      </p:pic>
    </p:spTree>
    <p:extLst>
      <p:ext uri="{BB962C8B-B14F-4D97-AF65-F5344CB8AC3E}">
        <p14:creationId xmlns:p14="http://schemas.microsoft.com/office/powerpoint/2010/main" val="1556771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i2i</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21</a:t>
            </a:fld>
            <a:endParaRPr lang="en-US"/>
          </a:p>
        </p:txBody>
      </p:sp>
      <p:sp>
        <p:nvSpPr>
          <p:cNvPr id="4" name="Textplatzhalter 3">
            <a:extLst>
              <a:ext uri="{FF2B5EF4-FFF2-40B4-BE49-F238E27FC236}">
                <a16:creationId xmlns:a16="http://schemas.microsoft.com/office/drawing/2014/main" id="{C805E3D1-E0DF-4872-A66E-C5CB77FE9C04}"/>
              </a:ext>
            </a:extLst>
          </p:cNvPr>
          <p:cNvSpPr>
            <a:spLocks noGrp="1"/>
          </p:cNvSpPr>
          <p:nvPr>
            <p:ph type="body" sz="quarter" idx="13"/>
          </p:nvPr>
        </p:nvSpPr>
        <p:spPr>
          <a:xfrm>
            <a:off x="488625" y="1529214"/>
            <a:ext cx="11160125" cy="4608513"/>
          </a:xfrm>
        </p:spPr>
        <p:txBody>
          <a:bodyPr/>
          <a:lstStyle/>
          <a:p>
            <a:r>
              <a:rPr lang="en-US"/>
              <a:t>The improvements we achieved helped all teams to deliver better, faster, safer.</a:t>
            </a:r>
          </a:p>
          <a:p>
            <a:endParaRPr lang="en-US"/>
          </a:p>
          <a:p>
            <a:r>
              <a:rPr lang="en-US"/>
              <a:t>Enhancing the ways of working and methodology is only possible by developing people and roles in the same time.</a:t>
            </a:r>
          </a:p>
          <a:p>
            <a:endParaRPr lang="en-US"/>
          </a:p>
          <a:p>
            <a:endParaRPr lang="en-US"/>
          </a:p>
        </p:txBody>
      </p:sp>
    </p:spTree>
    <p:extLst>
      <p:ext uri="{BB962C8B-B14F-4D97-AF65-F5344CB8AC3E}">
        <p14:creationId xmlns:p14="http://schemas.microsoft.com/office/powerpoint/2010/main" val="33982983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en-US" smtClean="0"/>
              <a:pPr/>
              <a:t>22</a:t>
            </a:fld>
            <a:endParaRPr lang="en-US"/>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en-US" sz="4400"/>
              <a:t>4 - Growing mindsets</a:t>
            </a:r>
          </a:p>
        </p:txBody>
      </p:sp>
      <p:pic>
        <p:nvPicPr>
          <p:cNvPr id="4" name="Grafik 3">
            <a:extLst>
              <a:ext uri="{FF2B5EF4-FFF2-40B4-BE49-F238E27FC236}">
                <a16:creationId xmlns:a16="http://schemas.microsoft.com/office/drawing/2014/main" id="{2735F753-A4C4-4FD3-BFDE-23F8558323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3999080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9CDB4-E374-4026-98D6-5C215A2044F4}"/>
              </a:ext>
            </a:extLst>
          </p:cNvPr>
          <p:cNvSpPr>
            <a:spLocks noGrp="1"/>
          </p:cNvSpPr>
          <p:nvPr>
            <p:ph type="title"/>
          </p:nvPr>
        </p:nvSpPr>
        <p:spPr/>
        <p:txBody>
          <a:bodyPr/>
          <a:lstStyle/>
          <a:p>
            <a:r>
              <a:rPr lang="en-US"/>
              <a:t>Growing mindsets</a:t>
            </a:r>
          </a:p>
        </p:txBody>
      </p:sp>
      <p:sp>
        <p:nvSpPr>
          <p:cNvPr id="3" name="Foliennummernplatzhalter 2">
            <a:extLst>
              <a:ext uri="{FF2B5EF4-FFF2-40B4-BE49-F238E27FC236}">
                <a16:creationId xmlns:a16="http://schemas.microsoft.com/office/drawing/2014/main" id="{F7C0BD8A-CB72-4AFC-BAA1-2651E112AFF0}"/>
              </a:ext>
            </a:extLst>
          </p:cNvPr>
          <p:cNvSpPr>
            <a:spLocks noGrp="1"/>
          </p:cNvSpPr>
          <p:nvPr>
            <p:ph type="sldNum" sz="quarter" idx="12"/>
          </p:nvPr>
        </p:nvSpPr>
        <p:spPr/>
        <p:txBody>
          <a:bodyPr/>
          <a:lstStyle/>
          <a:p>
            <a:fld id="{D45191E9-993A-4B71-A5D0-51B0F1A4B1BB}" type="slidenum">
              <a:rPr lang="en-US" smtClean="0"/>
              <a:pPr/>
              <a:t>23</a:t>
            </a:fld>
            <a:endParaRPr lang="en-US"/>
          </a:p>
        </p:txBody>
      </p:sp>
      <p:sp>
        <p:nvSpPr>
          <p:cNvPr id="4" name="Textplatzhalter 3">
            <a:extLst>
              <a:ext uri="{FF2B5EF4-FFF2-40B4-BE49-F238E27FC236}">
                <a16:creationId xmlns:a16="http://schemas.microsoft.com/office/drawing/2014/main" id="{50B24903-C268-484B-A3BE-4D4BF1B74786}"/>
              </a:ext>
            </a:extLst>
          </p:cNvPr>
          <p:cNvSpPr>
            <a:spLocks noGrp="1"/>
          </p:cNvSpPr>
          <p:nvPr>
            <p:ph type="body" sz="quarter" idx="13"/>
          </p:nvPr>
        </p:nvSpPr>
        <p:spPr>
          <a:xfrm>
            <a:off x="515378" y="1520825"/>
            <a:ext cx="11160125" cy="4608513"/>
          </a:xfrm>
        </p:spPr>
        <p:txBody>
          <a:bodyPr/>
          <a:lstStyle/>
          <a:p>
            <a:r>
              <a:rPr lang="en-US" dirty="0"/>
              <a:t>In traditional organizations, Taylor‘s principles are still alive:</a:t>
            </a:r>
          </a:p>
        </p:txBody>
      </p:sp>
      <p:sp>
        <p:nvSpPr>
          <p:cNvPr id="5" name="Ellipse 4">
            <a:extLst>
              <a:ext uri="{FF2B5EF4-FFF2-40B4-BE49-F238E27FC236}">
                <a16:creationId xmlns:a16="http://schemas.microsoft.com/office/drawing/2014/main" id="{F841B99E-902B-4EC1-ACA9-6CC4EB8404B9}"/>
              </a:ext>
            </a:extLst>
          </p:cNvPr>
          <p:cNvSpPr/>
          <p:nvPr/>
        </p:nvSpPr>
        <p:spPr>
          <a:xfrm>
            <a:off x="3842158" y="2130803"/>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6" name="Ellipse 5">
            <a:extLst>
              <a:ext uri="{FF2B5EF4-FFF2-40B4-BE49-F238E27FC236}">
                <a16:creationId xmlns:a16="http://schemas.microsoft.com/office/drawing/2014/main" id="{397EBC6E-DAA9-491C-ADC5-BB11DEC5EFE2}"/>
              </a:ext>
            </a:extLst>
          </p:cNvPr>
          <p:cNvSpPr/>
          <p:nvPr/>
        </p:nvSpPr>
        <p:spPr>
          <a:xfrm>
            <a:off x="3842157" y="3182114"/>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7" name="Ellipse 6">
            <a:extLst>
              <a:ext uri="{FF2B5EF4-FFF2-40B4-BE49-F238E27FC236}">
                <a16:creationId xmlns:a16="http://schemas.microsoft.com/office/drawing/2014/main" id="{5CD210A5-7486-467E-BA6C-99A54AC24C9A}"/>
              </a:ext>
            </a:extLst>
          </p:cNvPr>
          <p:cNvSpPr/>
          <p:nvPr/>
        </p:nvSpPr>
        <p:spPr>
          <a:xfrm>
            <a:off x="3842156" y="4233425"/>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Ellipse 7">
            <a:extLst>
              <a:ext uri="{FF2B5EF4-FFF2-40B4-BE49-F238E27FC236}">
                <a16:creationId xmlns:a16="http://schemas.microsoft.com/office/drawing/2014/main" id="{3CE0A59D-DEA6-4FDD-9C62-626D122428DB}"/>
              </a:ext>
            </a:extLst>
          </p:cNvPr>
          <p:cNvSpPr/>
          <p:nvPr/>
        </p:nvSpPr>
        <p:spPr>
          <a:xfrm>
            <a:off x="3842155" y="5284736"/>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9" name="Textfeld 8">
            <a:extLst>
              <a:ext uri="{FF2B5EF4-FFF2-40B4-BE49-F238E27FC236}">
                <a16:creationId xmlns:a16="http://schemas.microsoft.com/office/drawing/2014/main" id="{B1C47388-46FB-4ADD-932C-5099A375B6A2}"/>
              </a:ext>
            </a:extLst>
          </p:cNvPr>
          <p:cNvSpPr txBox="1"/>
          <p:nvPr/>
        </p:nvSpPr>
        <p:spPr>
          <a:xfrm>
            <a:off x="2407640" y="2418715"/>
            <a:ext cx="602601" cy="246221"/>
          </a:xfrm>
          <a:prstGeom prst="rect">
            <a:avLst/>
          </a:prstGeom>
          <a:noFill/>
        </p:spPr>
        <p:txBody>
          <a:bodyPr wrap="none" lIns="0" tIns="0" rIns="0" bIns="0" rtlCol="0">
            <a:spAutoFit/>
          </a:bodyPr>
          <a:lstStyle/>
          <a:p>
            <a:pPr>
              <a:spcBef>
                <a:spcPts val="300"/>
              </a:spcBef>
              <a:buClr>
                <a:schemeClr val="tx2"/>
              </a:buClr>
            </a:pPr>
            <a:r>
              <a:rPr lang="en-US" sz="1600"/>
              <a:t>Role A</a:t>
            </a:r>
          </a:p>
        </p:txBody>
      </p:sp>
      <p:sp>
        <p:nvSpPr>
          <p:cNvPr id="10" name="Textfeld 9">
            <a:extLst>
              <a:ext uri="{FF2B5EF4-FFF2-40B4-BE49-F238E27FC236}">
                <a16:creationId xmlns:a16="http://schemas.microsoft.com/office/drawing/2014/main" id="{C47D3D4A-DCD9-497F-A17D-471D487747E8}"/>
              </a:ext>
            </a:extLst>
          </p:cNvPr>
          <p:cNvSpPr txBox="1"/>
          <p:nvPr/>
        </p:nvSpPr>
        <p:spPr>
          <a:xfrm>
            <a:off x="2407639" y="3532981"/>
            <a:ext cx="613951" cy="246221"/>
          </a:xfrm>
          <a:prstGeom prst="rect">
            <a:avLst/>
          </a:prstGeom>
          <a:noFill/>
        </p:spPr>
        <p:txBody>
          <a:bodyPr wrap="none" lIns="0" tIns="0" rIns="0" bIns="0" rtlCol="0">
            <a:spAutoFit/>
          </a:bodyPr>
          <a:lstStyle/>
          <a:p>
            <a:pPr>
              <a:spcBef>
                <a:spcPts val="300"/>
              </a:spcBef>
              <a:buClr>
                <a:schemeClr val="tx2"/>
              </a:buClr>
            </a:pPr>
            <a:r>
              <a:rPr lang="en-US" sz="1600"/>
              <a:t>Role B</a:t>
            </a:r>
          </a:p>
        </p:txBody>
      </p:sp>
      <p:sp>
        <p:nvSpPr>
          <p:cNvPr id="11" name="Textfeld 10">
            <a:extLst>
              <a:ext uri="{FF2B5EF4-FFF2-40B4-BE49-F238E27FC236}">
                <a16:creationId xmlns:a16="http://schemas.microsoft.com/office/drawing/2014/main" id="{94AD42E6-1CA6-443D-97FB-F35D5482C822}"/>
              </a:ext>
            </a:extLst>
          </p:cNvPr>
          <p:cNvSpPr txBox="1"/>
          <p:nvPr/>
        </p:nvSpPr>
        <p:spPr>
          <a:xfrm>
            <a:off x="2407638" y="4647247"/>
            <a:ext cx="625171" cy="246221"/>
          </a:xfrm>
          <a:prstGeom prst="rect">
            <a:avLst/>
          </a:prstGeom>
          <a:noFill/>
        </p:spPr>
        <p:txBody>
          <a:bodyPr wrap="none" lIns="0" tIns="0" rIns="0" bIns="0" rtlCol="0">
            <a:spAutoFit/>
          </a:bodyPr>
          <a:lstStyle/>
          <a:p>
            <a:pPr>
              <a:spcBef>
                <a:spcPts val="300"/>
              </a:spcBef>
              <a:buClr>
                <a:schemeClr val="tx2"/>
              </a:buClr>
            </a:pPr>
            <a:r>
              <a:rPr lang="en-US" sz="1600"/>
              <a:t>Role C</a:t>
            </a:r>
          </a:p>
        </p:txBody>
      </p:sp>
      <p:sp>
        <p:nvSpPr>
          <p:cNvPr id="12" name="Textfeld 11">
            <a:extLst>
              <a:ext uri="{FF2B5EF4-FFF2-40B4-BE49-F238E27FC236}">
                <a16:creationId xmlns:a16="http://schemas.microsoft.com/office/drawing/2014/main" id="{7A3FF705-E7C3-4006-A990-052ACEC3F327}"/>
              </a:ext>
            </a:extLst>
          </p:cNvPr>
          <p:cNvSpPr txBox="1"/>
          <p:nvPr/>
        </p:nvSpPr>
        <p:spPr>
          <a:xfrm>
            <a:off x="2407637" y="5686012"/>
            <a:ext cx="625171" cy="246221"/>
          </a:xfrm>
          <a:prstGeom prst="rect">
            <a:avLst/>
          </a:prstGeom>
          <a:noFill/>
        </p:spPr>
        <p:txBody>
          <a:bodyPr wrap="none" lIns="0" tIns="0" rIns="0" bIns="0" rtlCol="0">
            <a:spAutoFit/>
          </a:bodyPr>
          <a:lstStyle/>
          <a:p>
            <a:pPr>
              <a:spcBef>
                <a:spcPts val="300"/>
              </a:spcBef>
              <a:buClr>
                <a:schemeClr val="tx2"/>
              </a:buClr>
            </a:pPr>
            <a:r>
              <a:rPr lang="en-US" sz="1600"/>
              <a:t>Role D</a:t>
            </a:r>
          </a:p>
        </p:txBody>
      </p:sp>
      <p:sp>
        <p:nvSpPr>
          <p:cNvPr id="13" name="Textfeld 12">
            <a:extLst>
              <a:ext uri="{FF2B5EF4-FFF2-40B4-BE49-F238E27FC236}">
                <a16:creationId xmlns:a16="http://schemas.microsoft.com/office/drawing/2014/main" id="{DFE22126-398C-4E44-9CD3-7CB23E637798}"/>
              </a:ext>
            </a:extLst>
          </p:cNvPr>
          <p:cNvSpPr txBox="1"/>
          <p:nvPr/>
        </p:nvSpPr>
        <p:spPr>
          <a:xfrm>
            <a:off x="4203841" y="2234157"/>
            <a:ext cx="400751"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A</a:t>
            </a:r>
          </a:p>
        </p:txBody>
      </p:sp>
      <p:sp>
        <p:nvSpPr>
          <p:cNvPr id="14" name="Textfeld 13">
            <a:extLst>
              <a:ext uri="{FF2B5EF4-FFF2-40B4-BE49-F238E27FC236}">
                <a16:creationId xmlns:a16="http://schemas.microsoft.com/office/drawing/2014/main" id="{2E04FFCF-5995-4561-873F-B86080684187}"/>
              </a:ext>
            </a:extLst>
          </p:cNvPr>
          <p:cNvSpPr txBox="1"/>
          <p:nvPr/>
        </p:nvSpPr>
        <p:spPr>
          <a:xfrm>
            <a:off x="4203841" y="3285468"/>
            <a:ext cx="400751"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B</a:t>
            </a:r>
          </a:p>
        </p:txBody>
      </p:sp>
      <p:sp>
        <p:nvSpPr>
          <p:cNvPr id="15" name="Textfeld 14">
            <a:extLst>
              <a:ext uri="{FF2B5EF4-FFF2-40B4-BE49-F238E27FC236}">
                <a16:creationId xmlns:a16="http://schemas.microsoft.com/office/drawing/2014/main" id="{39CA6A3F-D3BA-490D-AA8A-64D44210D1FC}"/>
              </a:ext>
            </a:extLst>
          </p:cNvPr>
          <p:cNvSpPr txBox="1"/>
          <p:nvPr/>
        </p:nvSpPr>
        <p:spPr>
          <a:xfrm>
            <a:off x="4199833" y="4336779"/>
            <a:ext cx="408766"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C</a:t>
            </a:r>
          </a:p>
        </p:txBody>
      </p:sp>
      <p:sp>
        <p:nvSpPr>
          <p:cNvPr id="16" name="Textfeld 15">
            <a:extLst>
              <a:ext uri="{FF2B5EF4-FFF2-40B4-BE49-F238E27FC236}">
                <a16:creationId xmlns:a16="http://schemas.microsoft.com/office/drawing/2014/main" id="{0D19969F-773E-479F-8141-2BF1E9812B9A}"/>
              </a:ext>
            </a:extLst>
          </p:cNvPr>
          <p:cNvSpPr txBox="1"/>
          <p:nvPr/>
        </p:nvSpPr>
        <p:spPr>
          <a:xfrm>
            <a:off x="4193420" y="5388090"/>
            <a:ext cx="408766"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D</a:t>
            </a:r>
          </a:p>
        </p:txBody>
      </p:sp>
      <p:pic>
        <p:nvPicPr>
          <p:cNvPr id="17" name="Grafik 16">
            <a:extLst>
              <a:ext uri="{FF2B5EF4-FFF2-40B4-BE49-F238E27FC236}">
                <a16:creationId xmlns:a16="http://schemas.microsoft.com/office/drawing/2014/main" id="{D6E134A4-D47D-4CDB-B1DE-1A0F53C066BA}"/>
              </a:ext>
            </a:extLst>
          </p:cNvPr>
          <p:cNvPicPr>
            <a:picLocks noChangeAspect="1"/>
          </p:cNvPicPr>
          <p:nvPr/>
        </p:nvPicPr>
        <p:blipFill>
          <a:blip r:embed="rId2"/>
          <a:stretch>
            <a:fillRect/>
          </a:stretch>
        </p:blipFill>
        <p:spPr>
          <a:xfrm rot="21174794">
            <a:off x="9547434" y="3713457"/>
            <a:ext cx="1711989" cy="2644293"/>
          </a:xfrm>
          <a:prstGeom prst="rect">
            <a:avLst/>
          </a:prstGeom>
          <a:ln>
            <a:solidFill>
              <a:schemeClr val="tx1"/>
            </a:solidFill>
          </a:ln>
        </p:spPr>
      </p:pic>
    </p:spTree>
    <p:extLst>
      <p:ext uri="{BB962C8B-B14F-4D97-AF65-F5344CB8AC3E}">
        <p14:creationId xmlns:p14="http://schemas.microsoft.com/office/powerpoint/2010/main" val="2726723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9CDB4-E374-4026-98D6-5C215A2044F4}"/>
              </a:ext>
            </a:extLst>
          </p:cNvPr>
          <p:cNvSpPr>
            <a:spLocks noGrp="1"/>
          </p:cNvSpPr>
          <p:nvPr>
            <p:ph type="title"/>
          </p:nvPr>
        </p:nvSpPr>
        <p:spPr/>
        <p:txBody>
          <a:bodyPr/>
          <a:lstStyle/>
          <a:p>
            <a:r>
              <a:rPr lang="en-US"/>
              <a:t>Growing mindsets</a:t>
            </a:r>
          </a:p>
        </p:txBody>
      </p:sp>
      <p:sp>
        <p:nvSpPr>
          <p:cNvPr id="3" name="Foliennummernplatzhalter 2">
            <a:extLst>
              <a:ext uri="{FF2B5EF4-FFF2-40B4-BE49-F238E27FC236}">
                <a16:creationId xmlns:a16="http://schemas.microsoft.com/office/drawing/2014/main" id="{F7C0BD8A-CB72-4AFC-BAA1-2651E112AFF0}"/>
              </a:ext>
            </a:extLst>
          </p:cNvPr>
          <p:cNvSpPr>
            <a:spLocks noGrp="1"/>
          </p:cNvSpPr>
          <p:nvPr>
            <p:ph type="sldNum" sz="quarter" idx="12"/>
          </p:nvPr>
        </p:nvSpPr>
        <p:spPr>
          <a:xfrm>
            <a:off x="515378" y="6480000"/>
            <a:ext cx="1332148" cy="180000"/>
          </a:xfrm>
        </p:spPr>
        <p:txBody>
          <a:bodyPr/>
          <a:lstStyle/>
          <a:p>
            <a:fld id="{D45191E9-993A-4B71-A5D0-51B0F1A4B1BB}" type="slidenum">
              <a:rPr lang="en-US" smtClean="0"/>
              <a:pPr/>
              <a:t>24</a:t>
            </a:fld>
            <a:endParaRPr lang="en-US"/>
          </a:p>
        </p:txBody>
      </p:sp>
      <p:sp>
        <p:nvSpPr>
          <p:cNvPr id="4" name="Textplatzhalter 3">
            <a:extLst>
              <a:ext uri="{FF2B5EF4-FFF2-40B4-BE49-F238E27FC236}">
                <a16:creationId xmlns:a16="http://schemas.microsoft.com/office/drawing/2014/main" id="{50B24903-C268-484B-A3BE-4D4BF1B74786}"/>
              </a:ext>
            </a:extLst>
          </p:cNvPr>
          <p:cNvSpPr>
            <a:spLocks noGrp="1"/>
          </p:cNvSpPr>
          <p:nvPr>
            <p:ph type="body" sz="quarter" idx="13"/>
          </p:nvPr>
        </p:nvSpPr>
        <p:spPr/>
        <p:txBody>
          <a:bodyPr/>
          <a:lstStyle/>
          <a:p>
            <a:r>
              <a:rPr lang="en-US"/>
              <a:t>During development of our organizations, blending roles into each other became an important factor:</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Blending roles possible in IT organization. But what about the business?</a:t>
            </a:r>
          </a:p>
        </p:txBody>
      </p:sp>
      <p:sp>
        <p:nvSpPr>
          <p:cNvPr id="5" name="Ellipse 4">
            <a:extLst>
              <a:ext uri="{FF2B5EF4-FFF2-40B4-BE49-F238E27FC236}">
                <a16:creationId xmlns:a16="http://schemas.microsoft.com/office/drawing/2014/main" id="{F841B99E-902B-4EC1-ACA9-6CC4EB8404B9}"/>
              </a:ext>
            </a:extLst>
          </p:cNvPr>
          <p:cNvSpPr/>
          <p:nvPr/>
        </p:nvSpPr>
        <p:spPr>
          <a:xfrm>
            <a:off x="3842158" y="2130803"/>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6" name="Ellipse 5">
            <a:extLst>
              <a:ext uri="{FF2B5EF4-FFF2-40B4-BE49-F238E27FC236}">
                <a16:creationId xmlns:a16="http://schemas.microsoft.com/office/drawing/2014/main" id="{397EBC6E-DAA9-491C-ADC5-BB11DEC5EFE2}"/>
              </a:ext>
            </a:extLst>
          </p:cNvPr>
          <p:cNvSpPr/>
          <p:nvPr/>
        </p:nvSpPr>
        <p:spPr>
          <a:xfrm>
            <a:off x="3842157" y="3182114"/>
            <a:ext cx="1273245" cy="105131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7" name="Ellipse 6">
            <a:extLst>
              <a:ext uri="{FF2B5EF4-FFF2-40B4-BE49-F238E27FC236}">
                <a16:creationId xmlns:a16="http://schemas.microsoft.com/office/drawing/2014/main" id="{5CD210A5-7486-467E-BA6C-99A54AC24C9A}"/>
              </a:ext>
            </a:extLst>
          </p:cNvPr>
          <p:cNvSpPr/>
          <p:nvPr/>
        </p:nvSpPr>
        <p:spPr>
          <a:xfrm>
            <a:off x="3842156" y="4043494"/>
            <a:ext cx="1273245" cy="113788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Ellipse 7">
            <a:extLst>
              <a:ext uri="{FF2B5EF4-FFF2-40B4-BE49-F238E27FC236}">
                <a16:creationId xmlns:a16="http://schemas.microsoft.com/office/drawing/2014/main" id="{3CE0A59D-DEA6-4FDD-9C62-626D122428DB}"/>
              </a:ext>
            </a:extLst>
          </p:cNvPr>
          <p:cNvSpPr/>
          <p:nvPr/>
        </p:nvSpPr>
        <p:spPr>
          <a:xfrm>
            <a:off x="3842155" y="5284736"/>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9" name="Textfeld 8">
            <a:extLst>
              <a:ext uri="{FF2B5EF4-FFF2-40B4-BE49-F238E27FC236}">
                <a16:creationId xmlns:a16="http://schemas.microsoft.com/office/drawing/2014/main" id="{B1C47388-46FB-4ADD-932C-5099A375B6A2}"/>
              </a:ext>
            </a:extLst>
          </p:cNvPr>
          <p:cNvSpPr txBox="1"/>
          <p:nvPr/>
        </p:nvSpPr>
        <p:spPr>
          <a:xfrm>
            <a:off x="2348917" y="2418715"/>
            <a:ext cx="602601" cy="246221"/>
          </a:xfrm>
          <a:prstGeom prst="rect">
            <a:avLst/>
          </a:prstGeom>
          <a:noFill/>
        </p:spPr>
        <p:txBody>
          <a:bodyPr wrap="none" lIns="0" tIns="0" rIns="0" bIns="0" rtlCol="0">
            <a:spAutoFit/>
          </a:bodyPr>
          <a:lstStyle/>
          <a:p>
            <a:pPr>
              <a:spcBef>
                <a:spcPts val="300"/>
              </a:spcBef>
              <a:buClr>
                <a:schemeClr val="tx2"/>
              </a:buClr>
            </a:pPr>
            <a:r>
              <a:rPr lang="en-US" sz="1600"/>
              <a:t>Role A</a:t>
            </a:r>
          </a:p>
        </p:txBody>
      </p:sp>
      <p:sp>
        <p:nvSpPr>
          <p:cNvPr id="10" name="Textfeld 9">
            <a:extLst>
              <a:ext uri="{FF2B5EF4-FFF2-40B4-BE49-F238E27FC236}">
                <a16:creationId xmlns:a16="http://schemas.microsoft.com/office/drawing/2014/main" id="{C47D3D4A-DCD9-497F-A17D-471D487747E8}"/>
              </a:ext>
            </a:extLst>
          </p:cNvPr>
          <p:cNvSpPr txBox="1"/>
          <p:nvPr/>
        </p:nvSpPr>
        <p:spPr>
          <a:xfrm>
            <a:off x="2348916" y="3532981"/>
            <a:ext cx="932948" cy="246221"/>
          </a:xfrm>
          <a:prstGeom prst="rect">
            <a:avLst/>
          </a:prstGeom>
          <a:noFill/>
        </p:spPr>
        <p:txBody>
          <a:bodyPr wrap="none" lIns="0" tIns="0" rIns="0" bIns="0" rtlCol="0">
            <a:spAutoFit/>
          </a:bodyPr>
          <a:lstStyle/>
          <a:p>
            <a:pPr>
              <a:spcBef>
                <a:spcPts val="300"/>
              </a:spcBef>
              <a:buClr>
                <a:schemeClr val="tx2"/>
              </a:buClr>
            </a:pPr>
            <a:r>
              <a:rPr lang="en-US" sz="1600"/>
              <a:t>Developer</a:t>
            </a:r>
          </a:p>
        </p:txBody>
      </p:sp>
      <p:sp>
        <p:nvSpPr>
          <p:cNvPr id="11" name="Textfeld 10">
            <a:extLst>
              <a:ext uri="{FF2B5EF4-FFF2-40B4-BE49-F238E27FC236}">
                <a16:creationId xmlns:a16="http://schemas.microsoft.com/office/drawing/2014/main" id="{94AD42E6-1CA6-443D-97FB-F35D5482C822}"/>
              </a:ext>
            </a:extLst>
          </p:cNvPr>
          <p:cNvSpPr txBox="1"/>
          <p:nvPr/>
        </p:nvSpPr>
        <p:spPr>
          <a:xfrm>
            <a:off x="2348915" y="4647247"/>
            <a:ext cx="559127" cy="246221"/>
          </a:xfrm>
          <a:prstGeom prst="rect">
            <a:avLst/>
          </a:prstGeom>
          <a:noFill/>
        </p:spPr>
        <p:txBody>
          <a:bodyPr wrap="none" lIns="0" tIns="0" rIns="0" bIns="0" rtlCol="0">
            <a:spAutoFit/>
          </a:bodyPr>
          <a:lstStyle/>
          <a:p>
            <a:pPr>
              <a:spcBef>
                <a:spcPts val="300"/>
              </a:spcBef>
              <a:buClr>
                <a:schemeClr val="tx2"/>
              </a:buClr>
            </a:pPr>
            <a:r>
              <a:rPr lang="en-US" sz="1600"/>
              <a:t>Tester</a:t>
            </a:r>
          </a:p>
        </p:txBody>
      </p:sp>
      <p:sp>
        <p:nvSpPr>
          <p:cNvPr id="12" name="Textfeld 11">
            <a:extLst>
              <a:ext uri="{FF2B5EF4-FFF2-40B4-BE49-F238E27FC236}">
                <a16:creationId xmlns:a16="http://schemas.microsoft.com/office/drawing/2014/main" id="{7A3FF705-E7C3-4006-A990-052ACEC3F327}"/>
              </a:ext>
            </a:extLst>
          </p:cNvPr>
          <p:cNvSpPr txBox="1"/>
          <p:nvPr/>
        </p:nvSpPr>
        <p:spPr>
          <a:xfrm>
            <a:off x="2348914" y="5686012"/>
            <a:ext cx="625171" cy="246221"/>
          </a:xfrm>
          <a:prstGeom prst="rect">
            <a:avLst/>
          </a:prstGeom>
          <a:noFill/>
        </p:spPr>
        <p:txBody>
          <a:bodyPr wrap="none" lIns="0" tIns="0" rIns="0" bIns="0" rtlCol="0">
            <a:spAutoFit/>
          </a:bodyPr>
          <a:lstStyle/>
          <a:p>
            <a:pPr>
              <a:spcBef>
                <a:spcPts val="300"/>
              </a:spcBef>
              <a:buClr>
                <a:schemeClr val="tx2"/>
              </a:buClr>
            </a:pPr>
            <a:r>
              <a:rPr lang="en-US" sz="1600"/>
              <a:t>Role D</a:t>
            </a:r>
          </a:p>
        </p:txBody>
      </p:sp>
      <p:sp>
        <p:nvSpPr>
          <p:cNvPr id="13" name="Textfeld 12">
            <a:extLst>
              <a:ext uri="{FF2B5EF4-FFF2-40B4-BE49-F238E27FC236}">
                <a16:creationId xmlns:a16="http://schemas.microsoft.com/office/drawing/2014/main" id="{DFE22126-398C-4E44-9CD3-7CB23E637798}"/>
              </a:ext>
            </a:extLst>
          </p:cNvPr>
          <p:cNvSpPr txBox="1"/>
          <p:nvPr/>
        </p:nvSpPr>
        <p:spPr>
          <a:xfrm>
            <a:off x="4203841" y="2234157"/>
            <a:ext cx="400751"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A</a:t>
            </a:r>
          </a:p>
        </p:txBody>
      </p:sp>
      <p:sp>
        <p:nvSpPr>
          <p:cNvPr id="14" name="Textfeld 13">
            <a:extLst>
              <a:ext uri="{FF2B5EF4-FFF2-40B4-BE49-F238E27FC236}">
                <a16:creationId xmlns:a16="http://schemas.microsoft.com/office/drawing/2014/main" id="{2E04FFCF-5995-4561-873F-B86080684187}"/>
              </a:ext>
            </a:extLst>
          </p:cNvPr>
          <p:cNvSpPr txBox="1"/>
          <p:nvPr/>
        </p:nvSpPr>
        <p:spPr>
          <a:xfrm>
            <a:off x="3906484" y="3285468"/>
            <a:ext cx="995465"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Developer</a:t>
            </a:r>
          </a:p>
        </p:txBody>
      </p:sp>
      <p:sp>
        <p:nvSpPr>
          <p:cNvPr id="15" name="Textfeld 14">
            <a:extLst>
              <a:ext uri="{FF2B5EF4-FFF2-40B4-BE49-F238E27FC236}">
                <a16:creationId xmlns:a16="http://schemas.microsoft.com/office/drawing/2014/main" id="{39CA6A3F-D3BA-490D-AA8A-64D44210D1FC}"/>
              </a:ext>
            </a:extLst>
          </p:cNvPr>
          <p:cNvSpPr txBox="1"/>
          <p:nvPr/>
        </p:nvSpPr>
        <p:spPr>
          <a:xfrm>
            <a:off x="4047035" y="4336779"/>
            <a:ext cx="714362"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Tester</a:t>
            </a:r>
          </a:p>
        </p:txBody>
      </p:sp>
      <p:sp>
        <p:nvSpPr>
          <p:cNvPr id="16" name="Textfeld 15">
            <a:extLst>
              <a:ext uri="{FF2B5EF4-FFF2-40B4-BE49-F238E27FC236}">
                <a16:creationId xmlns:a16="http://schemas.microsoft.com/office/drawing/2014/main" id="{0D19969F-773E-479F-8141-2BF1E9812B9A}"/>
              </a:ext>
            </a:extLst>
          </p:cNvPr>
          <p:cNvSpPr txBox="1"/>
          <p:nvPr/>
        </p:nvSpPr>
        <p:spPr>
          <a:xfrm>
            <a:off x="4193420" y="5388090"/>
            <a:ext cx="408766"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D</a:t>
            </a:r>
          </a:p>
        </p:txBody>
      </p:sp>
      <p:sp>
        <p:nvSpPr>
          <p:cNvPr id="17" name="Textfeld 16">
            <a:extLst>
              <a:ext uri="{FF2B5EF4-FFF2-40B4-BE49-F238E27FC236}">
                <a16:creationId xmlns:a16="http://schemas.microsoft.com/office/drawing/2014/main" id="{2194105D-E4D8-419F-B24F-776ADDC97E6A}"/>
              </a:ext>
            </a:extLst>
          </p:cNvPr>
          <p:cNvSpPr txBox="1"/>
          <p:nvPr/>
        </p:nvSpPr>
        <p:spPr>
          <a:xfrm>
            <a:off x="6462999" y="2611699"/>
            <a:ext cx="4014023" cy="3147015"/>
          </a:xfrm>
          <a:prstGeom prst="rect">
            <a:avLst/>
          </a:prstGeom>
          <a:solidFill>
            <a:schemeClr val="bg2"/>
          </a:solidFill>
          <a:ln>
            <a:noFill/>
          </a:ln>
        </p:spPr>
        <p:txBody>
          <a:bodyPr wrap="square" lIns="0" tIns="0" rIns="0" bIns="0" rtlCol="0">
            <a:spAutoFit/>
          </a:bodyPr>
          <a:lstStyle/>
          <a:p>
            <a:pPr>
              <a:spcBef>
                <a:spcPts val="300"/>
              </a:spcBef>
              <a:buClr>
                <a:schemeClr val="bg1"/>
              </a:buClr>
            </a:pPr>
            <a:r>
              <a:rPr lang="en-US" sz="1600">
                <a:solidFill>
                  <a:schemeClr val="bg1"/>
                </a:solidFill>
              </a:rPr>
              <a:t>Result:</a:t>
            </a:r>
          </a:p>
          <a:p>
            <a:pPr marL="285750" indent="-285750">
              <a:spcBef>
                <a:spcPts val="300"/>
              </a:spcBef>
              <a:buClr>
                <a:schemeClr val="bg1"/>
              </a:buClr>
              <a:buFont typeface="Arial" panose="020B0604020202020204" pitchFamily="34" charset="0"/>
              <a:buChar char="•"/>
            </a:pPr>
            <a:r>
              <a:rPr lang="en-US" sz="1600">
                <a:solidFill>
                  <a:schemeClr val="bg1"/>
                </a:solidFill>
              </a:rPr>
              <a:t>People with different roles started understanding each other (overcome the walled garden principle).</a:t>
            </a:r>
          </a:p>
          <a:p>
            <a:pPr marL="285750" indent="-285750">
              <a:spcBef>
                <a:spcPts val="300"/>
              </a:spcBef>
              <a:buClr>
                <a:schemeClr val="bg1"/>
              </a:buClr>
              <a:buFont typeface="Arial" panose="020B0604020202020204" pitchFamily="34" charset="0"/>
              <a:buChar char="•"/>
            </a:pPr>
            <a:r>
              <a:rPr lang="en-US" sz="1600">
                <a:solidFill>
                  <a:schemeClr val="bg1"/>
                </a:solidFill>
              </a:rPr>
              <a:t>Growing both roles allows people to grow, find new ways of solving problems together.</a:t>
            </a:r>
          </a:p>
          <a:p>
            <a:pPr marL="285750" indent="-285750">
              <a:spcBef>
                <a:spcPts val="300"/>
              </a:spcBef>
              <a:buClr>
                <a:schemeClr val="bg1"/>
              </a:buClr>
              <a:buFont typeface="Arial" panose="020B0604020202020204" pitchFamily="34" charset="0"/>
              <a:buChar char="•"/>
            </a:pPr>
            <a:r>
              <a:rPr lang="en-US" sz="1600">
                <a:solidFill>
                  <a:schemeClr val="bg1"/>
                </a:solidFill>
              </a:rPr>
              <a:t>As a result for this example:</a:t>
            </a:r>
          </a:p>
          <a:p>
            <a:pPr marL="742950" lvl="1" indent="-285750">
              <a:spcBef>
                <a:spcPts val="300"/>
              </a:spcBef>
              <a:buClr>
                <a:schemeClr val="bg1"/>
              </a:buClr>
              <a:buFont typeface="Arial" panose="020B0604020202020204" pitchFamily="34" charset="0"/>
              <a:buChar char="•"/>
            </a:pPr>
            <a:r>
              <a:rPr lang="en-US" sz="1600">
                <a:solidFill>
                  <a:schemeClr val="bg1"/>
                </a:solidFill>
              </a:rPr>
              <a:t>Testing is no longer the bottleneck in the process</a:t>
            </a:r>
          </a:p>
          <a:p>
            <a:pPr marL="742950" lvl="1" indent="-285750">
              <a:spcBef>
                <a:spcPts val="300"/>
              </a:spcBef>
              <a:buClr>
                <a:schemeClr val="bg1"/>
              </a:buClr>
              <a:buFont typeface="Arial" panose="020B0604020202020204" pitchFamily="34" charset="0"/>
              <a:buChar char="•"/>
            </a:pPr>
            <a:r>
              <a:rPr lang="en-US" sz="1600">
                <a:solidFill>
                  <a:schemeClr val="bg1"/>
                </a:solidFill>
              </a:rPr>
              <a:t>Testing becomes more attractive (i.e. for developers)</a:t>
            </a:r>
          </a:p>
        </p:txBody>
      </p:sp>
      <p:pic>
        <p:nvPicPr>
          <p:cNvPr id="18" name="Grafik 17">
            <a:extLst>
              <a:ext uri="{FF2B5EF4-FFF2-40B4-BE49-F238E27FC236}">
                <a16:creationId xmlns:a16="http://schemas.microsoft.com/office/drawing/2014/main" id="{EE560512-5A89-4FFD-983D-CBF20FDFCDBB}"/>
              </a:ext>
            </a:extLst>
          </p:cNvPr>
          <p:cNvPicPr>
            <a:picLocks noChangeAspect="1"/>
          </p:cNvPicPr>
          <p:nvPr/>
        </p:nvPicPr>
        <p:blipFill>
          <a:blip r:embed="rId2"/>
          <a:stretch>
            <a:fillRect/>
          </a:stretch>
        </p:blipFill>
        <p:spPr>
          <a:xfrm rot="21174794">
            <a:off x="10521022" y="3724867"/>
            <a:ext cx="1385451" cy="2139931"/>
          </a:xfrm>
          <a:prstGeom prst="rect">
            <a:avLst/>
          </a:prstGeom>
          <a:ln>
            <a:solidFill>
              <a:schemeClr val="tx1"/>
            </a:solidFill>
          </a:ln>
        </p:spPr>
      </p:pic>
    </p:spTree>
    <p:extLst>
      <p:ext uri="{BB962C8B-B14F-4D97-AF65-F5344CB8AC3E}">
        <p14:creationId xmlns:p14="http://schemas.microsoft.com/office/powerpoint/2010/main" val="10193706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8788B6-E43F-4736-9288-DA5AFEB750A2}"/>
              </a:ext>
            </a:extLst>
          </p:cNvPr>
          <p:cNvSpPr>
            <a:spLocks noGrp="1"/>
          </p:cNvSpPr>
          <p:nvPr>
            <p:ph type="title"/>
          </p:nvPr>
        </p:nvSpPr>
        <p:spPr/>
        <p:txBody>
          <a:bodyPr/>
          <a:lstStyle/>
          <a:p>
            <a:r>
              <a:rPr lang="en-US"/>
              <a:t>Blurring the edges between business and IT</a:t>
            </a:r>
          </a:p>
        </p:txBody>
      </p:sp>
      <p:sp>
        <p:nvSpPr>
          <p:cNvPr id="3" name="Foliennummernplatzhalter 2">
            <a:extLst>
              <a:ext uri="{FF2B5EF4-FFF2-40B4-BE49-F238E27FC236}">
                <a16:creationId xmlns:a16="http://schemas.microsoft.com/office/drawing/2014/main" id="{A07ECCAD-9044-466D-A33A-5FC734D9E6AA}"/>
              </a:ext>
            </a:extLst>
          </p:cNvPr>
          <p:cNvSpPr>
            <a:spLocks noGrp="1"/>
          </p:cNvSpPr>
          <p:nvPr>
            <p:ph type="sldNum" sz="quarter" idx="12"/>
          </p:nvPr>
        </p:nvSpPr>
        <p:spPr/>
        <p:txBody>
          <a:bodyPr/>
          <a:lstStyle/>
          <a:p>
            <a:fld id="{D45191E9-993A-4B71-A5D0-51B0F1A4B1BB}" type="slidenum">
              <a:rPr lang="en-US" smtClean="0"/>
              <a:pPr/>
              <a:t>25</a:t>
            </a:fld>
            <a:endParaRPr lang="en-US"/>
          </a:p>
        </p:txBody>
      </p:sp>
      <p:sp>
        <p:nvSpPr>
          <p:cNvPr id="4" name="Textplatzhalter 3">
            <a:extLst>
              <a:ext uri="{FF2B5EF4-FFF2-40B4-BE49-F238E27FC236}">
                <a16:creationId xmlns:a16="http://schemas.microsoft.com/office/drawing/2014/main" id="{D5368553-588F-497D-9E63-FBC8A5A5EBB9}"/>
              </a:ext>
            </a:extLst>
          </p:cNvPr>
          <p:cNvSpPr>
            <a:spLocks noGrp="1"/>
          </p:cNvSpPr>
          <p:nvPr>
            <p:ph type="body" sz="quarter" idx="13"/>
          </p:nvPr>
        </p:nvSpPr>
        <p:spPr/>
        <p:txBody>
          <a:bodyPr/>
          <a:lstStyle/>
          <a:p>
            <a:r>
              <a:rPr lang="en-US" dirty="0"/>
              <a:t>Why?</a:t>
            </a:r>
          </a:p>
          <a:p>
            <a:r>
              <a:rPr lang="en-US" dirty="0">
                <a:highlight>
                  <a:srgbClr val="FFFF00"/>
                </a:highlight>
              </a:rPr>
              <a:t>To yield the outcome of our “agile” setup we have to move step by step to cover the whole value chain. </a:t>
            </a:r>
            <a:br>
              <a:rPr lang="en-US" dirty="0">
                <a:highlight>
                  <a:srgbClr val="FFFF00"/>
                </a:highlight>
              </a:rPr>
            </a:br>
            <a:r>
              <a:rPr lang="en-US" dirty="0">
                <a:highlight>
                  <a:srgbClr val="FFFF00"/>
                </a:highlight>
              </a:rPr>
              <a:t>The basis is the understanding of the each other – in general (outcome, complexity, possibilities, dependencies) and specific (process, methods, mindset, language).</a:t>
            </a:r>
            <a:br>
              <a:rPr lang="en-US" dirty="0">
                <a:highlight>
                  <a:srgbClr val="FFFF00"/>
                </a:highlight>
              </a:rPr>
            </a:br>
            <a:r>
              <a:rPr lang="en-US" dirty="0">
                <a:highlight>
                  <a:srgbClr val="FFFF00"/>
                </a:highlight>
              </a:rPr>
              <a:t>An the key is the relevance, synergies, trust and need for an future orientated set up.</a:t>
            </a:r>
          </a:p>
          <a:p>
            <a:endParaRPr lang="en-US" dirty="0"/>
          </a:p>
          <a:p>
            <a:r>
              <a:rPr lang="en-US" dirty="0"/>
              <a:t>In modern companies:</a:t>
            </a:r>
          </a:p>
          <a:p>
            <a:pPr marL="180000" indent="-180000">
              <a:spcBef>
                <a:spcPts val="300"/>
              </a:spcBef>
              <a:buClr>
                <a:schemeClr val="tx2"/>
              </a:buClr>
              <a:buFont typeface="Arial" panose="020B0604020202020204" pitchFamily="34" charset="0"/>
              <a:buChar char="•"/>
            </a:pPr>
            <a:r>
              <a:rPr lang="en-US" dirty="0"/>
              <a:t>IT and business as one (at least those presentations say that)</a:t>
            </a:r>
          </a:p>
          <a:p>
            <a:pPr marL="180000" indent="-180000">
              <a:spcBef>
                <a:spcPts val="300"/>
              </a:spcBef>
              <a:buClr>
                <a:schemeClr val="tx2"/>
              </a:buClr>
              <a:buFont typeface="Arial" panose="020B0604020202020204" pitchFamily="34" charset="0"/>
              <a:buChar char="•"/>
            </a:pPr>
            <a:r>
              <a:rPr lang="en-US" dirty="0"/>
              <a:t>Not possible at Hermes because of overall complexity and </a:t>
            </a:r>
            <a:r>
              <a:rPr lang="en-US" dirty="0">
                <a:highlight>
                  <a:srgbClr val="FFFF00"/>
                </a:highlight>
              </a:rPr>
              <a:t>maturity </a:t>
            </a:r>
            <a:r>
              <a:rPr lang="en-US" dirty="0"/>
              <a:t>of company</a:t>
            </a:r>
          </a:p>
          <a:p>
            <a:r>
              <a:rPr lang="en-US" dirty="0"/>
              <a:t>What are the forces against that?</a:t>
            </a:r>
          </a:p>
          <a:p>
            <a:pPr marL="285750" indent="-285750">
              <a:buFont typeface="Arial" panose="020B0604020202020204" pitchFamily="34" charset="0"/>
              <a:buChar char="•"/>
            </a:pPr>
            <a:r>
              <a:rPr lang="en-US" dirty="0"/>
              <a:t>Classic organizational structure, IT and business are different branches in the org chart</a:t>
            </a:r>
          </a:p>
          <a:p>
            <a:pPr marL="285750" indent="-285750">
              <a:buFont typeface="Arial" panose="020B0604020202020204" pitchFamily="34" charset="0"/>
              <a:buChar char="•"/>
            </a:pPr>
            <a:r>
              <a:rPr lang="en-US" dirty="0"/>
              <a:t>No interest in methods in top management</a:t>
            </a:r>
          </a:p>
          <a:p>
            <a:endParaRPr lang="en-US" dirty="0"/>
          </a:p>
        </p:txBody>
      </p:sp>
    </p:spTree>
    <p:extLst>
      <p:ext uri="{BB962C8B-B14F-4D97-AF65-F5344CB8AC3E}">
        <p14:creationId xmlns:p14="http://schemas.microsoft.com/office/powerpoint/2010/main" val="218514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9CDB4-E374-4026-98D6-5C215A2044F4}"/>
              </a:ext>
            </a:extLst>
          </p:cNvPr>
          <p:cNvSpPr>
            <a:spLocks noGrp="1"/>
          </p:cNvSpPr>
          <p:nvPr>
            <p:ph type="title"/>
          </p:nvPr>
        </p:nvSpPr>
        <p:spPr/>
        <p:txBody>
          <a:bodyPr/>
          <a:lstStyle/>
          <a:p>
            <a:r>
              <a:rPr lang="en-US"/>
              <a:t>Blurring the edges between business and IT</a:t>
            </a:r>
          </a:p>
        </p:txBody>
      </p:sp>
      <p:sp>
        <p:nvSpPr>
          <p:cNvPr id="3" name="Foliennummernplatzhalter 2">
            <a:extLst>
              <a:ext uri="{FF2B5EF4-FFF2-40B4-BE49-F238E27FC236}">
                <a16:creationId xmlns:a16="http://schemas.microsoft.com/office/drawing/2014/main" id="{F7C0BD8A-CB72-4AFC-BAA1-2651E112AFF0}"/>
              </a:ext>
            </a:extLst>
          </p:cNvPr>
          <p:cNvSpPr>
            <a:spLocks noGrp="1"/>
          </p:cNvSpPr>
          <p:nvPr>
            <p:ph type="sldNum" sz="quarter" idx="12"/>
          </p:nvPr>
        </p:nvSpPr>
        <p:spPr>
          <a:xfrm>
            <a:off x="515378" y="6480000"/>
            <a:ext cx="1332148" cy="180000"/>
          </a:xfrm>
        </p:spPr>
        <p:txBody>
          <a:bodyPr/>
          <a:lstStyle/>
          <a:p>
            <a:fld id="{D45191E9-993A-4B71-A5D0-51B0F1A4B1BB}" type="slidenum">
              <a:rPr lang="en-US" smtClean="0"/>
              <a:pPr/>
              <a:t>26</a:t>
            </a:fld>
            <a:endParaRPr lang="en-US"/>
          </a:p>
        </p:txBody>
      </p:sp>
      <p:sp>
        <p:nvSpPr>
          <p:cNvPr id="6" name="Ellipse 5">
            <a:extLst>
              <a:ext uri="{FF2B5EF4-FFF2-40B4-BE49-F238E27FC236}">
                <a16:creationId xmlns:a16="http://schemas.microsoft.com/office/drawing/2014/main" id="{397EBC6E-DAA9-491C-ADC5-BB11DEC5EFE2}"/>
              </a:ext>
            </a:extLst>
          </p:cNvPr>
          <p:cNvSpPr/>
          <p:nvPr/>
        </p:nvSpPr>
        <p:spPr>
          <a:xfrm>
            <a:off x="3842157" y="2814506"/>
            <a:ext cx="1786856" cy="141891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7" name="Ellipse 6">
            <a:extLst>
              <a:ext uri="{FF2B5EF4-FFF2-40B4-BE49-F238E27FC236}">
                <a16:creationId xmlns:a16="http://schemas.microsoft.com/office/drawing/2014/main" id="{5CD210A5-7486-467E-BA6C-99A54AC24C9A}"/>
              </a:ext>
            </a:extLst>
          </p:cNvPr>
          <p:cNvSpPr/>
          <p:nvPr/>
        </p:nvSpPr>
        <p:spPr>
          <a:xfrm>
            <a:off x="3842156" y="4043494"/>
            <a:ext cx="1786856" cy="135901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10" name="Textfeld 9">
            <a:extLst>
              <a:ext uri="{FF2B5EF4-FFF2-40B4-BE49-F238E27FC236}">
                <a16:creationId xmlns:a16="http://schemas.microsoft.com/office/drawing/2014/main" id="{C47D3D4A-DCD9-497F-A17D-471D487747E8}"/>
              </a:ext>
            </a:extLst>
          </p:cNvPr>
          <p:cNvSpPr txBox="1"/>
          <p:nvPr/>
        </p:nvSpPr>
        <p:spPr>
          <a:xfrm>
            <a:off x="1054291" y="3424788"/>
            <a:ext cx="1574149" cy="530915"/>
          </a:xfrm>
          <a:prstGeom prst="rect">
            <a:avLst/>
          </a:prstGeom>
          <a:noFill/>
        </p:spPr>
        <p:txBody>
          <a:bodyPr wrap="none" lIns="0" tIns="0" rIns="0" bIns="0" rtlCol="0">
            <a:spAutoFit/>
          </a:bodyPr>
          <a:lstStyle/>
          <a:p>
            <a:pPr>
              <a:spcBef>
                <a:spcPts val="300"/>
              </a:spcBef>
              <a:buClr>
                <a:schemeClr val="tx2"/>
              </a:buClr>
            </a:pPr>
            <a:r>
              <a:rPr lang="en-US" sz="1600"/>
              <a:t>Product Manager</a:t>
            </a:r>
          </a:p>
          <a:p>
            <a:pPr>
              <a:spcBef>
                <a:spcPts val="300"/>
              </a:spcBef>
              <a:buClr>
                <a:schemeClr val="tx2"/>
              </a:buClr>
            </a:pPr>
            <a:r>
              <a:rPr lang="en-US" sz="1600"/>
              <a:t>(business)</a:t>
            </a:r>
          </a:p>
        </p:txBody>
      </p:sp>
      <p:sp>
        <p:nvSpPr>
          <p:cNvPr id="11" name="Textfeld 10">
            <a:extLst>
              <a:ext uri="{FF2B5EF4-FFF2-40B4-BE49-F238E27FC236}">
                <a16:creationId xmlns:a16="http://schemas.microsoft.com/office/drawing/2014/main" id="{94AD42E6-1CA6-443D-97FB-F35D5482C822}"/>
              </a:ext>
            </a:extLst>
          </p:cNvPr>
          <p:cNvSpPr txBox="1"/>
          <p:nvPr/>
        </p:nvSpPr>
        <p:spPr>
          <a:xfrm>
            <a:off x="1054291" y="4359862"/>
            <a:ext cx="1368965" cy="530915"/>
          </a:xfrm>
          <a:prstGeom prst="rect">
            <a:avLst/>
          </a:prstGeom>
          <a:noFill/>
        </p:spPr>
        <p:txBody>
          <a:bodyPr wrap="none" lIns="0" tIns="0" rIns="0" bIns="0" rtlCol="0">
            <a:spAutoFit/>
          </a:bodyPr>
          <a:lstStyle/>
          <a:p>
            <a:pPr>
              <a:spcBef>
                <a:spcPts val="300"/>
              </a:spcBef>
              <a:buClr>
                <a:schemeClr val="tx2"/>
              </a:buClr>
            </a:pPr>
            <a:r>
              <a:rPr lang="en-US" sz="1600"/>
              <a:t>Product Owner</a:t>
            </a:r>
          </a:p>
          <a:p>
            <a:pPr>
              <a:spcBef>
                <a:spcPts val="300"/>
              </a:spcBef>
              <a:buClr>
                <a:schemeClr val="tx2"/>
              </a:buClr>
            </a:pPr>
            <a:r>
              <a:rPr lang="en-US" sz="1600"/>
              <a:t>(Tech)</a:t>
            </a:r>
          </a:p>
        </p:txBody>
      </p:sp>
      <p:sp>
        <p:nvSpPr>
          <p:cNvPr id="14" name="Textfeld 13">
            <a:extLst>
              <a:ext uri="{FF2B5EF4-FFF2-40B4-BE49-F238E27FC236}">
                <a16:creationId xmlns:a16="http://schemas.microsoft.com/office/drawing/2014/main" id="{2E04FFCF-5995-4561-873F-B86080684187}"/>
              </a:ext>
            </a:extLst>
          </p:cNvPr>
          <p:cNvSpPr txBox="1"/>
          <p:nvPr/>
        </p:nvSpPr>
        <p:spPr>
          <a:xfrm>
            <a:off x="3998202" y="3208464"/>
            <a:ext cx="1474763"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Product Manager</a:t>
            </a:r>
          </a:p>
        </p:txBody>
      </p:sp>
      <p:sp>
        <p:nvSpPr>
          <p:cNvPr id="15" name="Textfeld 14">
            <a:extLst>
              <a:ext uri="{FF2B5EF4-FFF2-40B4-BE49-F238E27FC236}">
                <a16:creationId xmlns:a16="http://schemas.microsoft.com/office/drawing/2014/main" id="{39CA6A3F-D3BA-490D-AA8A-64D44210D1FC}"/>
              </a:ext>
            </a:extLst>
          </p:cNvPr>
          <p:cNvSpPr txBox="1"/>
          <p:nvPr/>
        </p:nvSpPr>
        <p:spPr>
          <a:xfrm>
            <a:off x="4030224" y="4446003"/>
            <a:ext cx="1322478"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Product Owner</a:t>
            </a:r>
          </a:p>
        </p:txBody>
      </p:sp>
      <p:sp>
        <p:nvSpPr>
          <p:cNvPr id="20" name="Textfeld 19">
            <a:extLst>
              <a:ext uri="{FF2B5EF4-FFF2-40B4-BE49-F238E27FC236}">
                <a16:creationId xmlns:a16="http://schemas.microsoft.com/office/drawing/2014/main" id="{F8B0E9F1-B6A8-4851-9A46-8DA37DFC17AD}"/>
              </a:ext>
            </a:extLst>
          </p:cNvPr>
          <p:cNvSpPr txBox="1"/>
          <p:nvPr/>
        </p:nvSpPr>
        <p:spPr>
          <a:xfrm>
            <a:off x="6929306" y="2290194"/>
            <a:ext cx="5039150" cy="2446824"/>
          </a:xfrm>
          <a:prstGeom prst="rect">
            <a:avLst/>
          </a:prstGeom>
          <a:noFill/>
        </p:spPr>
        <p:txBody>
          <a:bodyPr wrap="square" lIns="0" tIns="0" rIns="0" bIns="0" rtlCol="0">
            <a:spAutoFit/>
          </a:bodyPr>
          <a:lstStyle/>
          <a:p>
            <a:pPr>
              <a:spcBef>
                <a:spcPts val="300"/>
              </a:spcBef>
              <a:buClr>
                <a:schemeClr val="tx2"/>
              </a:buClr>
            </a:pPr>
            <a:r>
              <a:rPr lang="en-US" sz="1600"/>
              <a:t>What did we do?</a:t>
            </a:r>
          </a:p>
          <a:p>
            <a:pPr>
              <a:spcBef>
                <a:spcPts val="300"/>
              </a:spcBef>
              <a:buClr>
                <a:schemeClr val="tx2"/>
              </a:buClr>
            </a:pPr>
            <a:br>
              <a:rPr lang="en-US" sz="1600"/>
            </a:br>
            <a:r>
              <a:rPr lang="en-US" sz="1600"/>
              <a:t>What is the effect?</a:t>
            </a:r>
          </a:p>
          <a:p>
            <a:pPr>
              <a:spcBef>
                <a:spcPts val="300"/>
              </a:spcBef>
              <a:buClr>
                <a:schemeClr val="tx2"/>
              </a:buClr>
            </a:pPr>
            <a:r>
              <a:rPr lang="en-US" sz="1600"/>
              <a:t>The environment is still complex - we still need both roles.</a:t>
            </a:r>
          </a:p>
          <a:p>
            <a:pPr>
              <a:spcBef>
                <a:spcPts val="300"/>
              </a:spcBef>
              <a:buClr>
                <a:schemeClr val="tx2"/>
              </a:buClr>
            </a:pPr>
            <a:endParaRPr lang="en-US" sz="1600"/>
          </a:p>
          <a:p>
            <a:pPr>
              <a:spcBef>
                <a:spcPts val="300"/>
              </a:spcBef>
              <a:buClr>
                <a:schemeClr val="tx2"/>
              </a:buClr>
            </a:pPr>
            <a:r>
              <a:rPr lang="en-US" sz="1600"/>
              <a:t>What were the difficulties?</a:t>
            </a:r>
          </a:p>
          <a:p>
            <a:pPr>
              <a:spcBef>
                <a:spcPts val="300"/>
              </a:spcBef>
              <a:buClr>
                <a:schemeClr val="tx2"/>
              </a:buClr>
            </a:pPr>
            <a:endParaRPr lang="en-US" sz="1600"/>
          </a:p>
          <a:p>
            <a:pPr>
              <a:spcBef>
                <a:spcPts val="300"/>
              </a:spcBef>
              <a:buClr>
                <a:schemeClr val="tx2"/>
              </a:buClr>
            </a:pPr>
            <a:r>
              <a:rPr lang="en-US" sz="1600"/>
              <a:t>Are there shortcomings?</a:t>
            </a:r>
          </a:p>
        </p:txBody>
      </p:sp>
      <p:sp>
        <p:nvSpPr>
          <p:cNvPr id="21" name="Textfeld 20">
            <a:extLst>
              <a:ext uri="{FF2B5EF4-FFF2-40B4-BE49-F238E27FC236}">
                <a16:creationId xmlns:a16="http://schemas.microsoft.com/office/drawing/2014/main" id="{56FDFEFF-A8AF-4AE1-952F-25BB5193A93D}"/>
              </a:ext>
            </a:extLst>
          </p:cNvPr>
          <p:cNvSpPr txBox="1"/>
          <p:nvPr/>
        </p:nvSpPr>
        <p:spPr>
          <a:xfrm>
            <a:off x="3276671" y="2119992"/>
            <a:ext cx="2917824" cy="553998"/>
          </a:xfrm>
          <a:prstGeom prst="rect">
            <a:avLst/>
          </a:prstGeom>
          <a:noFill/>
        </p:spPr>
        <p:txBody>
          <a:bodyPr wrap="square" lIns="0" tIns="0" rIns="0" bIns="0" rtlCol="0">
            <a:spAutoFit/>
          </a:bodyPr>
          <a:lstStyle/>
          <a:p>
            <a:pPr algn="ctr">
              <a:spcBef>
                <a:spcPts val="300"/>
              </a:spcBef>
              <a:buClr>
                <a:schemeClr val="tx2"/>
              </a:buClr>
            </a:pPr>
            <a:r>
              <a:rPr lang="en-US" sz="1200" i="1"/>
              <a:t>(Business) product manager understands technological possibilities and aligns this with market demand</a:t>
            </a:r>
          </a:p>
        </p:txBody>
      </p:sp>
      <p:sp>
        <p:nvSpPr>
          <p:cNvPr id="22" name="Textfeld 21">
            <a:extLst>
              <a:ext uri="{FF2B5EF4-FFF2-40B4-BE49-F238E27FC236}">
                <a16:creationId xmlns:a16="http://schemas.microsoft.com/office/drawing/2014/main" id="{F28D1E72-E6CB-4890-9F01-9A3946B17A69}"/>
              </a:ext>
            </a:extLst>
          </p:cNvPr>
          <p:cNvSpPr txBox="1"/>
          <p:nvPr/>
        </p:nvSpPr>
        <p:spPr>
          <a:xfrm>
            <a:off x="3177896" y="5520397"/>
            <a:ext cx="2917824" cy="553998"/>
          </a:xfrm>
          <a:prstGeom prst="rect">
            <a:avLst/>
          </a:prstGeom>
          <a:noFill/>
        </p:spPr>
        <p:txBody>
          <a:bodyPr wrap="square" lIns="0" tIns="0" rIns="0" bIns="0" rtlCol="0">
            <a:spAutoFit/>
          </a:bodyPr>
          <a:lstStyle/>
          <a:p>
            <a:pPr algn="ctr">
              <a:spcBef>
                <a:spcPts val="300"/>
              </a:spcBef>
              <a:buClr>
                <a:schemeClr val="tx2"/>
              </a:buClr>
            </a:pPr>
            <a:r>
              <a:rPr lang="en-US" sz="1200" i="1"/>
              <a:t>(IT) product owner understands customer and market and uses technological possibilities to fulfil customers‘ needs</a:t>
            </a:r>
          </a:p>
        </p:txBody>
      </p:sp>
    </p:spTree>
    <p:extLst>
      <p:ext uri="{BB962C8B-B14F-4D97-AF65-F5344CB8AC3E}">
        <p14:creationId xmlns:p14="http://schemas.microsoft.com/office/powerpoint/2010/main" val="2269975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Collaborating and understanding</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27</a:t>
            </a:fld>
            <a:endParaRPr lang="en-US"/>
          </a:p>
        </p:txBody>
      </p:sp>
      <p:pic>
        <p:nvPicPr>
          <p:cNvPr id="5" name="Grafik 4">
            <a:extLst>
              <a:ext uri="{FF2B5EF4-FFF2-40B4-BE49-F238E27FC236}">
                <a16:creationId xmlns:a16="http://schemas.microsoft.com/office/drawing/2014/main" id="{1EAF2E0D-75B6-4257-9EB9-EDB98C8C7BCE}"/>
              </a:ext>
            </a:extLst>
          </p:cNvPr>
          <p:cNvPicPr>
            <a:picLocks noChangeAspect="1"/>
          </p:cNvPicPr>
          <p:nvPr/>
        </p:nvPicPr>
        <p:blipFill>
          <a:blip r:embed="rId2"/>
          <a:stretch>
            <a:fillRect/>
          </a:stretch>
        </p:blipFill>
        <p:spPr>
          <a:xfrm rot="16200000">
            <a:off x="1001695" y="346593"/>
            <a:ext cx="4053148" cy="5609450"/>
          </a:xfrm>
          <a:prstGeom prst="rect">
            <a:avLst/>
          </a:prstGeom>
        </p:spPr>
      </p:pic>
      <p:sp>
        <p:nvSpPr>
          <p:cNvPr id="6" name="Textfeld 5">
            <a:extLst>
              <a:ext uri="{FF2B5EF4-FFF2-40B4-BE49-F238E27FC236}">
                <a16:creationId xmlns:a16="http://schemas.microsoft.com/office/drawing/2014/main" id="{3E59665C-73B6-4FA2-8D83-0A1F2CE5BC70}"/>
              </a:ext>
            </a:extLst>
          </p:cNvPr>
          <p:cNvSpPr txBox="1"/>
          <p:nvPr/>
        </p:nvSpPr>
        <p:spPr>
          <a:xfrm>
            <a:off x="6518247" y="2290194"/>
            <a:ext cx="4655890" cy="2408352"/>
          </a:xfrm>
          <a:prstGeom prst="rect">
            <a:avLst/>
          </a:prstGeom>
          <a:noFill/>
        </p:spPr>
        <p:txBody>
          <a:bodyPr wrap="square" lIns="0" tIns="0" rIns="0" bIns="0" rtlCol="0">
            <a:spAutoFit/>
          </a:bodyPr>
          <a:lstStyle/>
          <a:p>
            <a:pPr>
              <a:spcBef>
                <a:spcPts val="300"/>
              </a:spcBef>
              <a:buClr>
                <a:schemeClr val="tx2"/>
              </a:buClr>
            </a:pPr>
            <a:r>
              <a:rPr lang="en-US" sz="1600"/>
              <a:t>We tried to make a single role/ single person responsible for the entire product, from customer to infrastructure, from idea to impact.</a:t>
            </a:r>
          </a:p>
          <a:p>
            <a:pPr>
              <a:spcBef>
                <a:spcPts val="300"/>
              </a:spcBef>
              <a:buClr>
                <a:schemeClr val="tx2"/>
              </a:buClr>
            </a:pPr>
            <a:endParaRPr lang="en-US" sz="1600"/>
          </a:p>
          <a:p>
            <a:pPr>
              <a:spcBef>
                <a:spcPts val="300"/>
              </a:spcBef>
              <a:buClr>
                <a:schemeClr val="tx2"/>
              </a:buClr>
            </a:pPr>
            <a:r>
              <a:rPr lang="en-US" sz="1600"/>
              <a:t>In our environment, we found this to be impossible.</a:t>
            </a:r>
          </a:p>
          <a:p>
            <a:pPr>
              <a:spcBef>
                <a:spcPts val="300"/>
              </a:spcBef>
              <a:buClr>
                <a:schemeClr val="tx2"/>
              </a:buClr>
            </a:pPr>
            <a:endParaRPr lang="en-US" sz="1600"/>
          </a:p>
          <a:p>
            <a:pPr>
              <a:spcBef>
                <a:spcPts val="300"/>
              </a:spcBef>
              <a:buClr>
                <a:schemeClr val="tx2"/>
              </a:buClr>
            </a:pPr>
            <a:r>
              <a:rPr lang="en-US" sz="1600"/>
              <a:t>Understanding each other‘s concerns helps build trust.</a:t>
            </a:r>
          </a:p>
          <a:p>
            <a:pPr>
              <a:spcBef>
                <a:spcPts val="300"/>
              </a:spcBef>
              <a:buClr>
                <a:schemeClr val="tx2"/>
              </a:buClr>
            </a:pPr>
            <a:r>
              <a:rPr lang="en-US" sz="1600"/>
              <a:t>Trust is the foundation for collaboration.</a:t>
            </a:r>
          </a:p>
        </p:txBody>
      </p:sp>
    </p:spTree>
    <p:extLst>
      <p:ext uri="{BB962C8B-B14F-4D97-AF65-F5344CB8AC3E}">
        <p14:creationId xmlns:p14="http://schemas.microsoft.com/office/powerpoint/2010/main" val="3923518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8788B6-E43F-4736-9288-DA5AFEB750A2}"/>
              </a:ext>
            </a:extLst>
          </p:cNvPr>
          <p:cNvSpPr>
            <a:spLocks noGrp="1"/>
          </p:cNvSpPr>
          <p:nvPr>
            <p:ph type="title"/>
          </p:nvPr>
        </p:nvSpPr>
        <p:spPr/>
        <p:txBody>
          <a:bodyPr/>
          <a:lstStyle/>
          <a:p>
            <a:r>
              <a:rPr lang="en-US"/>
              <a:t>Blurring the edges between business and IT – Learnings for us</a:t>
            </a:r>
          </a:p>
        </p:txBody>
      </p:sp>
      <p:sp>
        <p:nvSpPr>
          <p:cNvPr id="3" name="Foliennummernplatzhalter 2">
            <a:extLst>
              <a:ext uri="{FF2B5EF4-FFF2-40B4-BE49-F238E27FC236}">
                <a16:creationId xmlns:a16="http://schemas.microsoft.com/office/drawing/2014/main" id="{A07ECCAD-9044-466D-A33A-5FC734D9E6AA}"/>
              </a:ext>
            </a:extLst>
          </p:cNvPr>
          <p:cNvSpPr>
            <a:spLocks noGrp="1"/>
          </p:cNvSpPr>
          <p:nvPr>
            <p:ph type="sldNum" sz="quarter" idx="12"/>
          </p:nvPr>
        </p:nvSpPr>
        <p:spPr/>
        <p:txBody>
          <a:bodyPr/>
          <a:lstStyle/>
          <a:p>
            <a:fld id="{D45191E9-993A-4B71-A5D0-51B0F1A4B1BB}" type="slidenum">
              <a:rPr lang="en-US" smtClean="0"/>
              <a:pPr/>
              <a:t>28</a:t>
            </a:fld>
            <a:endParaRPr lang="en-US"/>
          </a:p>
        </p:txBody>
      </p:sp>
      <p:sp>
        <p:nvSpPr>
          <p:cNvPr id="4" name="Textplatzhalter 3">
            <a:extLst>
              <a:ext uri="{FF2B5EF4-FFF2-40B4-BE49-F238E27FC236}">
                <a16:creationId xmlns:a16="http://schemas.microsoft.com/office/drawing/2014/main" id="{D5368553-588F-497D-9E63-FBC8A5A5EBB9}"/>
              </a:ext>
            </a:extLst>
          </p:cNvPr>
          <p:cNvSpPr>
            <a:spLocks noGrp="1"/>
          </p:cNvSpPr>
          <p:nvPr>
            <p:ph type="body" sz="quarter" idx="13"/>
          </p:nvPr>
        </p:nvSpPr>
        <p:spPr/>
        <p:txBody>
          <a:bodyPr/>
          <a:lstStyle/>
          <a:p>
            <a:r>
              <a:rPr lang="en-US" sz="1600"/>
              <a:t>From our personal (management) perspective:</a:t>
            </a:r>
          </a:p>
          <a:p>
            <a:pPr marL="285750" indent="-285750">
              <a:buFont typeface="Arial" panose="020B0604020202020204" pitchFamily="34" charset="0"/>
              <a:buChar char="•"/>
            </a:pPr>
            <a:r>
              <a:rPr lang="en-US" sz="1600"/>
              <a:t>Resist the organizational drag: organizations are trying to keep the structure stable</a:t>
            </a:r>
          </a:p>
          <a:p>
            <a:pPr marL="285750" indent="-285750">
              <a:buFont typeface="Arial" panose="020B0604020202020204" pitchFamily="34" charset="0"/>
              <a:buChar char="•"/>
            </a:pPr>
            <a:r>
              <a:rPr lang="en-US" sz="1600">
                <a:sym typeface="Wingdings" panose="05000000000000000000" pitchFamily="2" charset="2"/>
              </a:rPr>
              <a:t>Management in a new kind of sandwich position (not only under pressure by upper and lower management but also under pressure by business and IT)</a:t>
            </a:r>
            <a:endParaRPr lang="en-US" sz="1600"/>
          </a:p>
          <a:p>
            <a:pPr marL="285750" indent="-285750">
              <a:buFont typeface="Arial" panose="020B0604020202020204" pitchFamily="34" charset="0"/>
              <a:buChar char="•"/>
            </a:pPr>
            <a:endParaRPr lang="en-US" sz="1600"/>
          </a:p>
          <a:p>
            <a:endParaRPr lang="en-US" sz="1600"/>
          </a:p>
        </p:txBody>
      </p:sp>
    </p:spTree>
    <p:extLst>
      <p:ext uri="{BB962C8B-B14F-4D97-AF65-F5344CB8AC3E}">
        <p14:creationId xmlns:p14="http://schemas.microsoft.com/office/powerpoint/2010/main" val="31473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9CDB4-E374-4026-98D6-5C215A2044F4}"/>
              </a:ext>
            </a:extLst>
          </p:cNvPr>
          <p:cNvSpPr>
            <a:spLocks noGrp="1"/>
          </p:cNvSpPr>
          <p:nvPr>
            <p:ph type="title"/>
          </p:nvPr>
        </p:nvSpPr>
        <p:spPr/>
        <p:txBody>
          <a:bodyPr/>
          <a:lstStyle/>
          <a:p>
            <a:r>
              <a:rPr lang="en-US"/>
              <a:t>Growing mindsets</a:t>
            </a:r>
          </a:p>
        </p:txBody>
      </p:sp>
      <p:sp>
        <p:nvSpPr>
          <p:cNvPr id="3" name="Foliennummernplatzhalter 2">
            <a:extLst>
              <a:ext uri="{FF2B5EF4-FFF2-40B4-BE49-F238E27FC236}">
                <a16:creationId xmlns:a16="http://schemas.microsoft.com/office/drawing/2014/main" id="{F7C0BD8A-CB72-4AFC-BAA1-2651E112AFF0}"/>
              </a:ext>
            </a:extLst>
          </p:cNvPr>
          <p:cNvSpPr>
            <a:spLocks noGrp="1"/>
          </p:cNvSpPr>
          <p:nvPr>
            <p:ph type="sldNum" sz="quarter" idx="12"/>
          </p:nvPr>
        </p:nvSpPr>
        <p:spPr>
          <a:xfrm>
            <a:off x="515378" y="6480000"/>
            <a:ext cx="1332148" cy="180000"/>
          </a:xfrm>
        </p:spPr>
        <p:txBody>
          <a:bodyPr/>
          <a:lstStyle/>
          <a:p>
            <a:fld id="{D45191E9-993A-4B71-A5D0-51B0F1A4B1BB}" type="slidenum">
              <a:rPr lang="en-US" smtClean="0"/>
              <a:pPr/>
              <a:t>29</a:t>
            </a:fld>
            <a:endParaRPr lang="en-US"/>
          </a:p>
        </p:txBody>
      </p:sp>
      <p:sp>
        <p:nvSpPr>
          <p:cNvPr id="4" name="Textplatzhalter 3">
            <a:extLst>
              <a:ext uri="{FF2B5EF4-FFF2-40B4-BE49-F238E27FC236}">
                <a16:creationId xmlns:a16="http://schemas.microsoft.com/office/drawing/2014/main" id="{50B24903-C268-484B-A3BE-4D4BF1B74786}"/>
              </a:ext>
            </a:extLst>
          </p:cNvPr>
          <p:cNvSpPr>
            <a:spLocks noGrp="1"/>
          </p:cNvSpPr>
          <p:nvPr>
            <p:ph type="body" sz="quarter" idx="13"/>
          </p:nvPr>
        </p:nvSpPr>
        <p:spPr/>
        <p:txBody>
          <a:bodyPr/>
          <a:lstStyle/>
          <a:p>
            <a:r>
              <a:rPr lang="en-US"/>
              <a:t>During development of our organizations, blending roles into each other became an important factor:</a:t>
            </a:r>
          </a:p>
        </p:txBody>
      </p:sp>
      <p:sp>
        <p:nvSpPr>
          <p:cNvPr id="5" name="Ellipse 4">
            <a:extLst>
              <a:ext uri="{FF2B5EF4-FFF2-40B4-BE49-F238E27FC236}">
                <a16:creationId xmlns:a16="http://schemas.microsoft.com/office/drawing/2014/main" id="{F841B99E-902B-4EC1-ACA9-6CC4EB8404B9}"/>
              </a:ext>
            </a:extLst>
          </p:cNvPr>
          <p:cNvSpPr/>
          <p:nvPr/>
        </p:nvSpPr>
        <p:spPr>
          <a:xfrm>
            <a:off x="3842158" y="2130803"/>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6" name="Ellipse 5">
            <a:extLst>
              <a:ext uri="{FF2B5EF4-FFF2-40B4-BE49-F238E27FC236}">
                <a16:creationId xmlns:a16="http://schemas.microsoft.com/office/drawing/2014/main" id="{397EBC6E-DAA9-491C-ADC5-BB11DEC5EFE2}"/>
              </a:ext>
            </a:extLst>
          </p:cNvPr>
          <p:cNvSpPr/>
          <p:nvPr/>
        </p:nvSpPr>
        <p:spPr>
          <a:xfrm>
            <a:off x="3842157" y="3182114"/>
            <a:ext cx="1273245" cy="105131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7" name="Ellipse 6">
            <a:extLst>
              <a:ext uri="{FF2B5EF4-FFF2-40B4-BE49-F238E27FC236}">
                <a16:creationId xmlns:a16="http://schemas.microsoft.com/office/drawing/2014/main" id="{5CD210A5-7486-467E-BA6C-99A54AC24C9A}"/>
              </a:ext>
            </a:extLst>
          </p:cNvPr>
          <p:cNvSpPr/>
          <p:nvPr/>
        </p:nvSpPr>
        <p:spPr>
          <a:xfrm>
            <a:off x="3842156" y="4043494"/>
            <a:ext cx="1273245" cy="113788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8" name="Ellipse 7">
            <a:extLst>
              <a:ext uri="{FF2B5EF4-FFF2-40B4-BE49-F238E27FC236}">
                <a16:creationId xmlns:a16="http://schemas.microsoft.com/office/drawing/2014/main" id="{3CE0A59D-DEA6-4FDD-9C62-626D122428DB}"/>
              </a:ext>
            </a:extLst>
          </p:cNvPr>
          <p:cNvSpPr/>
          <p:nvPr/>
        </p:nvSpPr>
        <p:spPr>
          <a:xfrm>
            <a:off x="3842155" y="5284736"/>
            <a:ext cx="1124125" cy="9479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endParaRPr lang="en-US" sz="1600"/>
          </a:p>
        </p:txBody>
      </p:sp>
      <p:sp>
        <p:nvSpPr>
          <p:cNvPr id="9" name="Textfeld 8">
            <a:extLst>
              <a:ext uri="{FF2B5EF4-FFF2-40B4-BE49-F238E27FC236}">
                <a16:creationId xmlns:a16="http://schemas.microsoft.com/office/drawing/2014/main" id="{B1C47388-46FB-4ADD-932C-5099A375B6A2}"/>
              </a:ext>
            </a:extLst>
          </p:cNvPr>
          <p:cNvSpPr txBox="1"/>
          <p:nvPr/>
        </p:nvSpPr>
        <p:spPr>
          <a:xfrm>
            <a:off x="2348917" y="2418715"/>
            <a:ext cx="602601" cy="246221"/>
          </a:xfrm>
          <a:prstGeom prst="rect">
            <a:avLst/>
          </a:prstGeom>
          <a:noFill/>
        </p:spPr>
        <p:txBody>
          <a:bodyPr wrap="none" lIns="0" tIns="0" rIns="0" bIns="0" rtlCol="0">
            <a:spAutoFit/>
          </a:bodyPr>
          <a:lstStyle/>
          <a:p>
            <a:pPr>
              <a:spcBef>
                <a:spcPts val="300"/>
              </a:spcBef>
              <a:buClr>
                <a:schemeClr val="tx2"/>
              </a:buClr>
            </a:pPr>
            <a:r>
              <a:rPr lang="en-US" sz="1600"/>
              <a:t>Role A</a:t>
            </a:r>
          </a:p>
        </p:txBody>
      </p:sp>
      <p:sp>
        <p:nvSpPr>
          <p:cNvPr id="10" name="Textfeld 9">
            <a:extLst>
              <a:ext uri="{FF2B5EF4-FFF2-40B4-BE49-F238E27FC236}">
                <a16:creationId xmlns:a16="http://schemas.microsoft.com/office/drawing/2014/main" id="{C47D3D4A-DCD9-497F-A17D-471D487747E8}"/>
              </a:ext>
            </a:extLst>
          </p:cNvPr>
          <p:cNvSpPr txBox="1"/>
          <p:nvPr/>
        </p:nvSpPr>
        <p:spPr>
          <a:xfrm>
            <a:off x="2348916" y="3532981"/>
            <a:ext cx="932948" cy="246221"/>
          </a:xfrm>
          <a:prstGeom prst="rect">
            <a:avLst/>
          </a:prstGeom>
          <a:noFill/>
        </p:spPr>
        <p:txBody>
          <a:bodyPr wrap="none" lIns="0" tIns="0" rIns="0" bIns="0" rtlCol="0">
            <a:spAutoFit/>
          </a:bodyPr>
          <a:lstStyle/>
          <a:p>
            <a:pPr>
              <a:spcBef>
                <a:spcPts val="300"/>
              </a:spcBef>
              <a:buClr>
                <a:schemeClr val="tx2"/>
              </a:buClr>
            </a:pPr>
            <a:r>
              <a:rPr lang="en-US" sz="1600"/>
              <a:t>Developer</a:t>
            </a:r>
          </a:p>
        </p:txBody>
      </p:sp>
      <p:sp>
        <p:nvSpPr>
          <p:cNvPr id="11" name="Textfeld 10">
            <a:extLst>
              <a:ext uri="{FF2B5EF4-FFF2-40B4-BE49-F238E27FC236}">
                <a16:creationId xmlns:a16="http://schemas.microsoft.com/office/drawing/2014/main" id="{94AD42E6-1CA6-443D-97FB-F35D5482C822}"/>
              </a:ext>
            </a:extLst>
          </p:cNvPr>
          <p:cNvSpPr txBox="1"/>
          <p:nvPr/>
        </p:nvSpPr>
        <p:spPr>
          <a:xfrm>
            <a:off x="2348915" y="4647247"/>
            <a:ext cx="559127" cy="246221"/>
          </a:xfrm>
          <a:prstGeom prst="rect">
            <a:avLst/>
          </a:prstGeom>
          <a:noFill/>
        </p:spPr>
        <p:txBody>
          <a:bodyPr wrap="none" lIns="0" tIns="0" rIns="0" bIns="0" rtlCol="0">
            <a:spAutoFit/>
          </a:bodyPr>
          <a:lstStyle/>
          <a:p>
            <a:pPr>
              <a:spcBef>
                <a:spcPts val="300"/>
              </a:spcBef>
              <a:buClr>
                <a:schemeClr val="tx2"/>
              </a:buClr>
            </a:pPr>
            <a:r>
              <a:rPr lang="en-US" sz="1600"/>
              <a:t>Tester</a:t>
            </a:r>
          </a:p>
        </p:txBody>
      </p:sp>
      <p:sp>
        <p:nvSpPr>
          <p:cNvPr id="12" name="Textfeld 11">
            <a:extLst>
              <a:ext uri="{FF2B5EF4-FFF2-40B4-BE49-F238E27FC236}">
                <a16:creationId xmlns:a16="http://schemas.microsoft.com/office/drawing/2014/main" id="{7A3FF705-E7C3-4006-A990-052ACEC3F327}"/>
              </a:ext>
            </a:extLst>
          </p:cNvPr>
          <p:cNvSpPr txBox="1"/>
          <p:nvPr/>
        </p:nvSpPr>
        <p:spPr>
          <a:xfrm>
            <a:off x="2348914" y="5686012"/>
            <a:ext cx="625171" cy="246221"/>
          </a:xfrm>
          <a:prstGeom prst="rect">
            <a:avLst/>
          </a:prstGeom>
          <a:noFill/>
        </p:spPr>
        <p:txBody>
          <a:bodyPr wrap="none" lIns="0" tIns="0" rIns="0" bIns="0" rtlCol="0">
            <a:spAutoFit/>
          </a:bodyPr>
          <a:lstStyle/>
          <a:p>
            <a:pPr>
              <a:spcBef>
                <a:spcPts val="300"/>
              </a:spcBef>
              <a:buClr>
                <a:schemeClr val="tx2"/>
              </a:buClr>
            </a:pPr>
            <a:r>
              <a:rPr lang="en-US" sz="1600"/>
              <a:t>Role D</a:t>
            </a:r>
          </a:p>
        </p:txBody>
      </p:sp>
      <p:sp>
        <p:nvSpPr>
          <p:cNvPr id="13" name="Textfeld 12">
            <a:extLst>
              <a:ext uri="{FF2B5EF4-FFF2-40B4-BE49-F238E27FC236}">
                <a16:creationId xmlns:a16="http://schemas.microsoft.com/office/drawing/2014/main" id="{DFE22126-398C-4E44-9CD3-7CB23E637798}"/>
              </a:ext>
            </a:extLst>
          </p:cNvPr>
          <p:cNvSpPr txBox="1"/>
          <p:nvPr/>
        </p:nvSpPr>
        <p:spPr>
          <a:xfrm>
            <a:off x="4203841" y="2234157"/>
            <a:ext cx="400751"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A</a:t>
            </a:r>
          </a:p>
        </p:txBody>
      </p:sp>
      <p:sp>
        <p:nvSpPr>
          <p:cNvPr id="14" name="Textfeld 13">
            <a:extLst>
              <a:ext uri="{FF2B5EF4-FFF2-40B4-BE49-F238E27FC236}">
                <a16:creationId xmlns:a16="http://schemas.microsoft.com/office/drawing/2014/main" id="{2E04FFCF-5995-4561-873F-B86080684187}"/>
              </a:ext>
            </a:extLst>
          </p:cNvPr>
          <p:cNvSpPr txBox="1"/>
          <p:nvPr/>
        </p:nvSpPr>
        <p:spPr>
          <a:xfrm>
            <a:off x="3906484" y="3285468"/>
            <a:ext cx="995465"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Developer</a:t>
            </a:r>
          </a:p>
        </p:txBody>
      </p:sp>
      <p:sp>
        <p:nvSpPr>
          <p:cNvPr id="15" name="Textfeld 14">
            <a:extLst>
              <a:ext uri="{FF2B5EF4-FFF2-40B4-BE49-F238E27FC236}">
                <a16:creationId xmlns:a16="http://schemas.microsoft.com/office/drawing/2014/main" id="{39CA6A3F-D3BA-490D-AA8A-64D44210D1FC}"/>
              </a:ext>
            </a:extLst>
          </p:cNvPr>
          <p:cNvSpPr txBox="1"/>
          <p:nvPr/>
        </p:nvSpPr>
        <p:spPr>
          <a:xfrm>
            <a:off x="4047035" y="4336779"/>
            <a:ext cx="714362"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Tester</a:t>
            </a:r>
          </a:p>
        </p:txBody>
      </p:sp>
      <p:sp>
        <p:nvSpPr>
          <p:cNvPr id="16" name="Textfeld 15">
            <a:extLst>
              <a:ext uri="{FF2B5EF4-FFF2-40B4-BE49-F238E27FC236}">
                <a16:creationId xmlns:a16="http://schemas.microsoft.com/office/drawing/2014/main" id="{0D19969F-773E-479F-8141-2BF1E9812B9A}"/>
              </a:ext>
            </a:extLst>
          </p:cNvPr>
          <p:cNvSpPr txBox="1"/>
          <p:nvPr/>
        </p:nvSpPr>
        <p:spPr>
          <a:xfrm>
            <a:off x="4193420" y="5388090"/>
            <a:ext cx="408766" cy="553998"/>
          </a:xfrm>
          <a:prstGeom prst="rect">
            <a:avLst/>
          </a:prstGeom>
          <a:noFill/>
        </p:spPr>
        <p:txBody>
          <a:bodyPr wrap="none" lIns="0" tIns="0" rIns="0" bIns="0" rtlCol="0">
            <a:spAutoFit/>
          </a:bodyPr>
          <a:lstStyle/>
          <a:p>
            <a:pPr algn="ctr">
              <a:buClr>
                <a:schemeClr val="tx2"/>
              </a:buClr>
            </a:pPr>
            <a:r>
              <a:rPr lang="en-US" sz="1200"/>
              <a:t>Skills </a:t>
            </a:r>
          </a:p>
          <a:p>
            <a:pPr algn="ctr">
              <a:buClr>
                <a:schemeClr val="tx2"/>
              </a:buClr>
            </a:pPr>
            <a:r>
              <a:rPr lang="en-US" sz="1200"/>
              <a:t>of </a:t>
            </a:r>
          </a:p>
          <a:p>
            <a:pPr algn="ctr">
              <a:buClr>
                <a:schemeClr val="tx2"/>
              </a:buClr>
            </a:pPr>
            <a:r>
              <a:rPr lang="en-US" sz="1200"/>
              <a:t>role D</a:t>
            </a:r>
          </a:p>
        </p:txBody>
      </p:sp>
      <p:sp>
        <p:nvSpPr>
          <p:cNvPr id="17" name="Textfeld 16">
            <a:extLst>
              <a:ext uri="{FF2B5EF4-FFF2-40B4-BE49-F238E27FC236}">
                <a16:creationId xmlns:a16="http://schemas.microsoft.com/office/drawing/2014/main" id="{2194105D-E4D8-419F-B24F-776ADDC97E6A}"/>
              </a:ext>
            </a:extLst>
          </p:cNvPr>
          <p:cNvSpPr txBox="1"/>
          <p:nvPr/>
        </p:nvSpPr>
        <p:spPr>
          <a:xfrm>
            <a:off x="6719582" y="2795073"/>
            <a:ext cx="4014023" cy="3147015"/>
          </a:xfrm>
          <a:prstGeom prst="rect">
            <a:avLst/>
          </a:prstGeom>
          <a:noFill/>
          <a:ln>
            <a:solidFill>
              <a:schemeClr val="tx1"/>
            </a:solidFill>
          </a:ln>
        </p:spPr>
        <p:txBody>
          <a:bodyPr wrap="square" lIns="0" tIns="0" rIns="0" bIns="0" rtlCol="0">
            <a:spAutoFit/>
          </a:bodyPr>
          <a:lstStyle/>
          <a:p>
            <a:pPr>
              <a:spcBef>
                <a:spcPts val="300"/>
              </a:spcBef>
              <a:buClr>
                <a:schemeClr val="tx2"/>
              </a:buClr>
            </a:pPr>
            <a:r>
              <a:rPr lang="en-US" sz="1600"/>
              <a:t>Result:</a:t>
            </a:r>
          </a:p>
          <a:p>
            <a:pPr marL="285750" indent="-285750">
              <a:spcBef>
                <a:spcPts val="300"/>
              </a:spcBef>
              <a:buClr>
                <a:schemeClr val="tx2"/>
              </a:buClr>
              <a:buFont typeface="Arial" panose="020B0604020202020204" pitchFamily="34" charset="0"/>
              <a:buChar char="•"/>
            </a:pPr>
            <a:r>
              <a:rPr lang="en-US" sz="1600"/>
              <a:t>People with different roles started understanding each other (overcome the walled garden principle).</a:t>
            </a:r>
          </a:p>
          <a:p>
            <a:pPr marL="285750" indent="-285750">
              <a:spcBef>
                <a:spcPts val="300"/>
              </a:spcBef>
              <a:buClr>
                <a:schemeClr val="tx2"/>
              </a:buClr>
              <a:buFont typeface="Arial" panose="020B0604020202020204" pitchFamily="34" charset="0"/>
              <a:buChar char="•"/>
            </a:pPr>
            <a:r>
              <a:rPr lang="en-US" sz="1600"/>
              <a:t>Growing both roles allows people to grow, find new ways of solving problems together.</a:t>
            </a:r>
          </a:p>
          <a:p>
            <a:pPr marL="285750" indent="-285750">
              <a:spcBef>
                <a:spcPts val="300"/>
              </a:spcBef>
              <a:buClr>
                <a:schemeClr val="tx2"/>
              </a:buClr>
              <a:buFont typeface="Arial" panose="020B0604020202020204" pitchFamily="34" charset="0"/>
              <a:buChar char="•"/>
            </a:pPr>
            <a:r>
              <a:rPr lang="en-US" sz="1600"/>
              <a:t>As a result for this example:</a:t>
            </a:r>
          </a:p>
          <a:p>
            <a:pPr marL="742950" lvl="1" indent="-285750">
              <a:spcBef>
                <a:spcPts val="300"/>
              </a:spcBef>
              <a:buClr>
                <a:schemeClr val="tx2"/>
              </a:buClr>
              <a:buFont typeface="Arial" panose="020B0604020202020204" pitchFamily="34" charset="0"/>
              <a:buChar char="•"/>
            </a:pPr>
            <a:r>
              <a:rPr lang="en-US" sz="1600"/>
              <a:t>Testing is no longer the bottleneck in the process</a:t>
            </a:r>
          </a:p>
          <a:p>
            <a:pPr marL="742950" lvl="1" indent="-285750">
              <a:spcBef>
                <a:spcPts val="300"/>
              </a:spcBef>
              <a:buClr>
                <a:schemeClr val="tx2"/>
              </a:buClr>
              <a:buFont typeface="Arial" panose="020B0604020202020204" pitchFamily="34" charset="0"/>
              <a:buChar char="•"/>
            </a:pPr>
            <a:r>
              <a:rPr lang="en-US" sz="1600"/>
              <a:t>Testing becomes more attractive (i.e. for developers)</a:t>
            </a:r>
          </a:p>
        </p:txBody>
      </p:sp>
    </p:spTree>
    <p:extLst>
      <p:ext uri="{BB962C8B-B14F-4D97-AF65-F5344CB8AC3E}">
        <p14:creationId xmlns:p14="http://schemas.microsoft.com/office/powerpoint/2010/main" val="742235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3</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Übersicht</a:t>
            </a:r>
          </a:p>
        </p:txBody>
      </p:sp>
      <p:pic>
        <p:nvPicPr>
          <p:cNvPr id="4" name="Grafik 3">
            <a:extLst>
              <a:ext uri="{FF2B5EF4-FFF2-40B4-BE49-F238E27FC236}">
                <a16:creationId xmlns:a16="http://schemas.microsoft.com/office/drawing/2014/main" id="{6046399B-FCA5-42EF-BBB8-8818C33BA1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15614079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Development-paths</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30</a:t>
            </a:fld>
            <a:endParaRPr lang="en-US"/>
          </a:p>
        </p:txBody>
      </p:sp>
      <p:pic>
        <p:nvPicPr>
          <p:cNvPr id="4" name="Grafik 3">
            <a:extLst>
              <a:ext uri="{FF2B5EF4-FFF2-40B4-BE49-F238E27FC236}">
                <a16:creationId xmlns:a16="http://schemas.microsoft.com/office/drawing/2014/main" id="{8E79CC34-10A0-4394-9B99-F1629D912AC3}"/>
              </a:ext>
            </a:extLst>
          </p:cNvPr>
          <p:cNvPicPr>
            <a:picLocks noChangeAspect="1"/>
          </p:cNvPicPr>
          <p:nvPr/>
        </p:nvPicPr>
        <p:blipFill>
          <a:blip r:embed="rId2"/>
          <a:stretch>
            <a:fillRect/>
          </a:stretch>
        </p:blipFill>
        <p:spPr>
          <a:xfrm>
            <a:off x="4981476" y="145925"/>
            <a:ext cx="5334099" cy="6510608"/>
          </a:xfrm>
          <a:prstGeom prst="rect">
            <a:avLst/>
          </a:prstGeom>
        </p:spPr>
      </p:pic>
    </p:spTree>
    <p:extLst>
      <p:ext uri="{BB962C8B-B14F-4D97-AF65-F5344CB8AC3E}">
        <p14:creationId xmlns:p14="http://schemas.microsoft.com/office/powerpoint/2010/main" val="7295388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T-shaped profile</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31</a:t>
            </a:fld>
            <a:endParaRPr lang="en-US"/>
          </a:p>
        </p:txBody>
      </p:sp>
      <p:pic>
        <p:nvPicPr>
          <p:cNvPr id="4" name="Grafik 3">
            <a:extLst>
              <a:ext uri="{FF2B5EF4-FFF2-40B4-BE49-F238E27FC236}">
                <a16:creationId xmlns:a16="http://schemas.microsoft.com/office/drawing/2014/main" id="{9A09C878-3FBA-4C44-ABCD-578648245567}"/>
              </a:ext>
            </a:extLst>
          </p:cNvPr>
          <p:cNvPicPr>
            <a:picLocks noChangeAspect="1"/>
          </p:cNvPicPr>
          <p:nvPr/>
        </p:nvPicPr>
        <p:blipFill>
          <a:blip r:embed="rId2"/>
          <a:stretch>
            <a:fillRect/>
          </a:stretch>
        </p:blipFill>
        <p:spPr>
          <a:xfrm>
            <a:off x="3138487" y="255804"/>
            <a:ext cx="4665757" cy="6346391"/>
          </a:xfrm>
          <a:prstGeom prst="rect">
            <a:avLst/>
          </a:prstGeom>
        </p:spPr>
      </p:pic>
      <p:pic>
        <p:nvPicPr>
          <p:cNvPr id="6" name="Grafik 5">
            <a:extLst>
              <a:ext uri="{FF2B5EF4-FFF2-40B4-BE49-F238E27FC236}">
                <a16:creationId xmlns:a16="http://schemas.microsoft.com/office/drawing/2014/main" id="{C4BB1E5F-91CD-4DFF-B7E9-3E329F970F0B}"/>
              </a:ext>
            </a:extLst>
          </p:cNvPr>
          <p:cNvPicPr>
            <a:picLocks noChangeAspect="1"/>
          </p:cNvPicPr>
          <p:nvPr/>
        </p:nvPicPr>
        <p:blipFill>
          <a:blip r:embed="rId3"/>
          <a:stretch>
            <a:fillRect/>
          </a:stretch>
        </p:blipFill>
        <p:spPr>
          <a:xfrm>
            <a:off x="7753814" y="241516"/>
            <a:ext cx="4390097" cy="5754809"/>
          </a:xfrm>
          <a:prstGeom prst="rect">
            <a:avLst/>
          </a:prstGeom>
        </p:spPr>
      </p:pic>
    </p:spTree>
    <p:extLst>
      <p:ext uri="{BB962C8B-B14F-4D97-AF65-F5344CB8AC3E}">
        <p14:creationId xmlns:p14="http://schemas.microsoft.com/office/powerpoint/2010/main" val="1049215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711800-0C91-48BD-A071-8D3DA7D4CEA5}"/>
              </a:ext>
            </a:extLst>
          </p:cNvPr>
          <p:cNvSpPr>
            <a:spLocks noGrp="1"/>
          </p:cNvSpPr>
          <p:nvPr>
            <p:ph type="title"/>
          </p:nvPr>
        </p:nvSpPr>
        <p:spPr/>
        <p:txBody>
          <a:bodyPr/>
          <a:lstStyle/>
          <a:p>
            <a:r>
              <a:rPr lang="en-US"/>
              <a:t>Our next challenges</a:t>
            </a:r>
          </a:p>
        </p:txBody>
      </p:sp>
      <p:sp>
        <p:nvSpPr>
          <p:cNvPr id="3" name="Foliennummernplatzhalter 2">
            <a:extLst>
              <a:ext uri="{FF2B5EF4-FFF2-40B4-BE49-F238E27FC236}">
                <a16:creationId xmlns:a16="http://schemas.microsoft.com/office/drawing/2014/main" id="{821E933E-2EFA-409F-AF4B-09E9671B7C42}"/>
              </a:ext>
            </a:extLst>
          </p:cNvPr>
          <p:cNvSpPr>
            <a:spLocks noGrp="1"/>
          </p:cNvSpPr>
          <p:nvPr>
            <p:ph type="sldNum" sz="quarter" idx="12"/>
          </p:nvPr>
        </p:nvSpPr>
        <p:spPr/>
        <p:txBody>
          <a:bodyPr/>
          <a:lstStyle/>
          <a:p>
            <a:fld id="{D45191E9-993A-4B71-A5D0-51B0F1A4B1BB}" type="slidenum">
              <a:rPr lang="en-US" smtClean="0"/>
              <a:pPr/>
              <a:t>32</a:t>
            </a:fld>
            <a:endParaRPr lang="en-US"/>
          </a:p>
        </p:txBody>
      </p:sp>
      <p:sp>
        <p:nvSpPr>
          <p:cNvPr id="4" name="Textplatzhalter 3">
            <a:extLst>
              <a:ext uri="{FF2B5EF4-FFF2-40B4-BE49-F238E27FC236}">
                <a16:creationId xmlns:a16="http://schemas.microsoft.com/office/drawing/2014/main" id="{9BE4B56D-74A6-4C32-B32A-3674156D3A4F}"/>
              </a:ext>
            </a:extLst>
          </p:cNvPr>
          <p:cNvSpPr>
            <a:spLocks noGrp="1"/>
          </p:cNvSpPr>
          <p:nvPr>
            <p:ph type="body" sz="quarter" idx="13"/>
          </p:nvPr>
        </p:nvSpPr>
        <p:spPr/>
        <p:txBody>
          <a:bodyPr/>
          <a:lstStyle/>
          <a:p>
            <a:r>
              <a:rPr lang="en-US" dirty="0"/>
              <a:t>1)</a:t>
            </a:r>
          </a:p>
          <a:p>
            <a:pPr marL="285750" indent="-285750">
              <a:buFont typeface="Arial" panose="020B0604020202020204" pitchFamily="34" charset="0"/>
              <a:buChar char="•"/>
            </a:pPr>
            <a:r>
              <a:rPr lang="en-US" dirty="0" err="1"/>
              <a:t>Focussing</a:t>
            </a:r>
            <a:r>
              <a:rPr lang="en-US" dirty="0"/>
              <a:t> everyone in the process on the success of one particular product comes with a price</a:t>
            </a:r>
          </a:p>
          <a:p>
            <a:pPr marL="285750" indent="-285750">
              <a:buFont typeface="Arial" panose="020B0604020202020204" pitchFamily="34" charset="0"/>
              <a:buChar char="•"/>
            </a:pPr>
            <a:r>
              <a:rPr lang="en-US" dirty="0"/>
              <a:t>Collaboration between different product becomes the next challenge</a:t>
            </a:r>
          </a:p>
          <a:p>
            <a:pPr marL="285750" indent="-285750">
              <a:buFont typeface="Arial" panose="020B0604020202020204" pitchFamily="34" charset="0"/>
              <a:buChar char="•"/>
            </a:pPr>
            <a:r>
              <a:rPr lang="en-US" dirty="0"/>
              <a:t>Coordination necessar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i="1" dirty="0"/>
              <a:t>It is not sufficient to leave collaboration with the teams. You need to actively (re)create a culture of collaboration and also establish new formats for coordination and collaboration.</a:t>
            </a:r>
          </a:p>
        </p:txBody>
      </p:sp>
      <p:pic>
        <p:nvPicPr>
          <p:cNvPr id="5" name="Grafik 4">
            <a:extLst>
              <a:ext uri="{FF2B5EF4-FFF2-40B4-BE49-F238E27FC236}">
                <a16:creationId xmlns:a16="http://schemas.microsoft.com/office/drawing/2014/main" id="{4A81F6FC-70C3-4078-AC9B-308AE0CF094D}"/>
              </a:ext>
            </a:extLst>
          </p:cNvPr>
          <p:cNvPicPr>
            <a:picLocks noChangeAspect="1"/>
          </p:cNvPicPr>
          <p:nvPr/>
        </p:nvPicPr>
        <p:blipFill>
          <a:blip r:embed="rId2"/>
          <a:stretch>
            <a:fillRect/>
          </a:stretch>
        </p:blipFill>
        <p:spPr>
          <a:xfrm rot="280566">
            <a:off x="7555209" y="5097413"/>
            <a:ext cx="4159054" cy="1240822"/>
          </a:xfrm>
          <a:prstGeom prst="rect">
            <a:avLst/>
          </a:prstGeom>
        </p:spPr>
      </p:pic>
    </p:spTree>
    <p:extLst>
      <p:ext uri="{BB962C8B-B14F-4D97-AF65-F5344CB8AC3E}">
        <p14:creationId xmlns:p14="http://schemas.microsoft.com/office/powerpoint/2010/main" val="3477264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en-US" smtClean="0"/>
              <a:pPr/>
              <a:t>33</a:t>
            </a:fld>
            <a:endParaRPr lang="en-US"/>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en-US" sz="4400"/>
              <a:t>5 - Implementation in the organization</a:t>
            </a:r>
          </a:p>
        </p:txBody>
      </p:sp>
      <p:pic>
        <p:nvPicPr>
          <p:cNvPr id="4" name="Grafik 3">
            <a:extLst>
              <a:ext uri="{FF2B5EF4-FFF2-40B4-BE49-F238E27FC236}">
                <a16:creationId xmlns:a16="http://schemas.microsoft.com/office/drawing/2014/main" id="{2E1FE123-F806-4D38-BBD4-07A0E105AE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16091715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Diversity within the organization</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34</a:t>
            </a:fld>
            <a:endParaRPr lang="en-US"/>
          </a:p>
        </p:txBody>
      </p:sp>
      <p:pic>
        <p:nvPicPr>
          <p:cNvPr id="5" name="Grafik 4">
            <a:extLst>
              <a:ext uri="{FF2B5EF4-FFF2-40B4-BE49-F238E27FC236}">
                <a16:creationId xmlns:a16="http://schemas.microsoft.com/office/drawing/2014/main" id="{8B1C2E8E-7AB0-4823-BDF2-006957E533D6}"/>
              </a:ext>
            </a:extLst>
          </p:cNvPr>
          <p:cNvPicPr>
            <a:picLocks noChangeAspect="1"/>
          </p:cNvPicPr>
          <p:nvPr/>
        </p:nvPicPr>
        <p:blipFill>
          <a:blip r:embed="rId2"/>
          <a:stretch>
            <a:fillRect/>
          </a:stretch>
        </p:blipFill>
        <p:spPr>
          <a:xfrm>
            <a:off x="4555402" y="260150"/>
            <a:ext cx="5393461" cy="6399850"/>
          </a:xfrm>
          <a:prstGeom prst="rect">
            <a:avLst/>
          </a:prstGeom>
        </p:spPr>
      </p:pic>
    </p:spTree>
    <p:extLst>
      <p:ext uri="{BB962C8B-B14F-4D97-AF65-F5344CB8AC3E}">
        <p14:creationId xmlns:p14="http://schemas.microsoft.com/office/powerpoint/2010/main" val="2113875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35</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Einleitung</a:t>
            </a:r>
          </a:p>
        </p:txBody>
      </p:sp>
      <p:pic>
        <p:nvPicPr>
          <p:cNvPr id="4" name="Grafik 3">
            <a:extLst>
              <a:ext uri="{FF2B5EF4-FFF2-40B4-BE49-F238E27FC236}">
                <a16:creationId xmlns:a16="http://schemas.microsoft.com/office/drawing/2014/main" id="{84E2E5C1-F55C-46AB-A72E-1335F311B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1866100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dirty="0"/>
              <a:t>Out of scope</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36</a:t>
            </a:fld>
            <a:endParaRPr lang="en-US"/>
          </a:p>
        </p:txBody>
      </p:sp>
      <p:pic>
        <p:nvPicPr>
          <p:cNvPr id="5" name="Grafik 4">
            <a:extLst>
              <a:ext uri="{FF2B5EF4-FFF2-40B4-BE49-F238E27FC236}">
                <a16:creationId xmlns:a16="http://schemas.microsoft.com/office/drawing/2014/main" id="{3A307593-8360-4936-8CAB-0525283647B3}"/>
              </a:ext>
            </a:extLst>
          </p:cNvPr>
          <p:cNvPicPr>
            <a:picLocks noChangeAspect="1"/>
          </p:cNvPicPr>
          <p:nvPr/>
        </p:nvPicPr>
        <p:blipFill>
          <a:blip r:embed="rId2"/>
          <a:stretch>
            <a:fillRect/>
          </a:stretch>
        </p:blipFill>
        <p:spPr>
          <a:xfrm>
            <a:off x="9634307" y="1621263"/>
            <a:ext cx="2438947" cy="2503697"/>
          </a:xfrm>
          <a:prstGeom prst="rect">
            <a:avLst/>
          </a:prstGeom>
        </p:spPr>
      </p:pic>
      <p:sp>
        <p:nvSpPr>
          <p:cNvPr id="6" name="Textplatzhalter 3">
            <a:extLst>
              <a:ext uri="{FF2B5EF4-FFF2-40B4-BE49-F238E27FC236}">
                <a16:creationId xmlns:a16="http://schemas.microsoft.com/office/drawing/2014/main" id="{99636F38-3981-4D76-B035-A669E6E43192}"/>
              </a:ext>
            </a:extLst>
          </p:cNvPr>
          <p:cNvSpPr>
            <a:spLocks noGrp="1"/>
          </p:cNvSpPr>
          <p:nvPr>
            <p:ph type="body" sz="quarter" idx="13"/>
          </p:nvPr>
        </p:nvSpPr>
        <p:spPr>
          <a:xfrm>
            <a:off x="515378" y="1520825"/>
            <a:ext cx="11160125" cy="4608513"/>
          </a:xfrm>
        </p:spPr>
        <p:txBody>
          <a:bodyPr/>
          <a:lstStyle/>
          <a:p>
            <a:pPr marL="285750" indent="-285750">
              <a:buFont typeface="Arial" panose="020B0604020202020204" pitchFamily="34" charset="0"/>
              <a:buChar char="•"/>
            </a:pPr>
            <a:r>
              <a:rPr lang="en-US" dirty="0"/>
              <a:t>Project to product</a:t>
            </a:r>
          </a:p>
          <a:p>
            <a:pPr marL="285750" indent="-285750">
              <a:buFont typeface="Arial" panose="020B0604020202020204" pitchFamily="34" charset="0"/>
              <a:buChar char="•"/>
            </a:pPr>
            <a:r>
              <a:rPr lang="en-US" dirty="0"/>
              <a:t>Build measure learn</a:t>
            </a:r>
          </a:p>
          <a:p>
            <a:pPr marL="285750" indent="-285750">
              <a:buFont typeface="Arial" panose="020B0604020202020204" pitchFamily="34" charset="0"/>
              <a:buChar char="•"/>
            </a:pPr>
            <a:r>
              <a:rPr lang="en-US" dirty="0"/>
              <a:t>Lead management</a:t>
            </a:r>
          </a:p>
          <a:p>
            <a:pPr marL="285750" indent="-285750">
              <a:buFont typeface="Arial" panose="020B0604020202020204" pitchFamily="34" charset="0"/>
              <a:buChar char="•"/>
            </a:pPr>
            <a:r>
              <a:rPr lang="en-US" dirty="0"/>
              <a:t>Push to pull</a:t>
            </a:r>
          </a:p>
          <a:p>
            <a:pPr marL="285750" indent="-285750">
              <a:buFont typeface="Arial" panose="020B0604020202020204" pitchFamily="34" charset="0"/>
              <a:buChar char="•"/>
            </a:pPr>
            <a:r>
              <a:rPr lang="en-US" dirty="0"/>
              <a:t>Waterfall to agile</a:t>
            </a:r>
          </a:p>
          <a:p>
            <a:pPr marL="285750" indent="-285750">
              <a:buFont typeface="Arial" panose="020B0604020202020204" pitchFamily="34" charset="0"/>
              <a:buChar char="•"/>
            </a:pPr>
            <a:r>
              <a:rPr lang="en-US" dirty="0"/>
              <a:t>Scrum, Kanban, flight level methods</a:t>
            </a:r>
          </a:p>
          <a:p>
            <a:pPr marL="285750" indent="-285750">
              <a:buFont typeface="Arial" panose="020B0604020202020204" pitchFamily="34" charset="0"/>
              <a:buChar char="•"/>
            </a:pPr>
            <a:r>
              <a:rPr lang="en-US" dirty="0"/>
              <a:t>Project budget to yearly team budget</a:t>
            </a:r>
          </a:p>
          <a:p>
            <a:pPr marL="285750" indent="-285750">
              <a:buFont typeface="Arial" panose="020B0604020202020204" pitchFamily="34" charset="0"/>
              <a:buChar char="•"/>
            </a:pPr>
            <a:r>
              <a:rPr lang="en-US" dirty="0"/>
              <a:t>Steering boards to product owner</a:t>
            </a:r>
          </a:p>
        </p:txBody>
      </p:sp>
    </p:spTree>
    <p:extLst>
      <p:ext uri="{BB962C8B-B14F-4D97-AF65-F5344CB8AC3E}">
        <p14:creationId xmlns:p14="http://schemas.microsoft.com/office/powerpoint/2010/main" val="26895732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37</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Scribbles</a:t>
            </a:r>
          </a:p>
        </p:txBody>
      </p:sp>
      <p:pic>
        <p:nvPicPr>
          <p:cNvPr id="4" name="Grafik 3">
            <a:extLst>
              <a:ext uri="{FF2B5EF4-FFF2-40B4-BE49-F238E27FC236}">
                <a16:creationId xmlns:a16="http://schemas.microsoft.com/office/drawing/2014/main" id="{A579F214-5CA7-4AE8-9D35-01A1CFC37B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2536784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38</a:t>
            </a:fld>
            <a:endParaRPr lang="de-DE"/>
          </a:p>
        </p:txBody>
      </p:sp>
      <p:pic>
        <p:nvPicPr>
          <p:cNvPr id="5" name="Grafik 4">
            <a:extLst>
              <a:ext uri="{FF2B5EF4-FFF2-40B4-BE49-F238E27FC236}">
                <a16:creationId xmlns:a16="http://schemas.microsoft.com/office/drawing/2014/main" id="{56C45753-0582-4980-8ECE-EFF8879384AF}"/>
              </a:ext>
            </a:extLst>
          </p:cNvPr>
          <p:cNvPicPr>
            <a:picLocks noChangeAspect="1"/>
          </p:cNvPicPr>
          <p:nvPr/>
        </p:nvPicPr>
        <p:blipFill>
          <a:blip r:embed="rId2"/>
          <a:stretch>
            <a:fillRect/>
          </a:stretch>
        </p:blipFill>
        <p:spPr>
          <a:xfrm rot="5400000">
            <a:off x="7613517" y="2227129"/>
            <a:ext cx="3260300" cy="4544117"/>
          </a:xfrm>
          <a:prstGeom prst="rect">
            <a:avLst/>
          </a:prstGeom>
        </p:spPr>
      </p:pic>
    </p:spTree>
    <p:extLst>
      <p:ext uri="{BB962C8B-B14F-4D97-AF65-F5344CB8AC3E}">
        <p14:creationId xmlns:p14="http://schemas.microsoft.com/office/powerpoint/2010/main" val="3681709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39</a:t>
            </a:fld>
            <a:endParaRPr lang="de-DE"/>
          </a:p>
        </p:txBody>
      </p:sp>
      <p:pic>
        <p:nvPicPr>
          <p:cNvPr id="4" name="Grafik 3">
            <a:extLst>
              <a:ext uri="{FF2B5EF4-FFF2-40B4-BE49-F238E27FC236}">
                <a16:creationId xmlns:a16="http://schemas.microsoft.com/office/drawing/2014/main" id="{4C0DF20C-E56D-4CE5-BF3A-2D9AE853214F}"/>
              </a:ext>
            </a:extLst>
          </p:cNvPr>
          <p:cNvPicPr>
            <a:picLocks noChangeAspect="1"/>
          </p:cNvPicPr>
          <p:nvPr/>
        </p:nvPicPr>
        <p:blipFill>
          <a:blip r:embed="rId2"/>
          <a:stretch>
            <a:fillRect/>
          </a:stretch>
        </p:blipFill>
        <p:spPr>
          <a:xfrm rot="5400000">
            <a:off x="4011409" y="-1000570"/>
            <a:ext cx="6024651" cy="8606646"/>
          </a:xfrm>
          <a:prstGeom prst="rect">
            <a:avLst/>
          </a:prstGeom>
        </p:spPr>
      </p:pic>
    </p:spTree>
    <p:extLst>
      <p:ext uri="{BB962C8B-B14F-4D97-AF65-F5344CB8AC3E}">
        <p14:creationId xmlns:p14="http://schemas.microsoft.com/office/powerpoint/2010/main" val="3855226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Ablauf</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a:t>
            </a:fld>
            <a:endParaRPr lang="de-DE"/>
          </a:p>
        </p:txBody>
      </p:sp>
      <p:sp>
        <p:nvSpPr>
          <p:cNvPr id="4" name="Textplatzhalter 3">
            <a:extLst>
              <a:ext uri="{FF2B5EF4-FFF2-40B4-BE49-F238E27FC236}">
                <a16:creationId xmlns:a16="http://schemas.microsoft.com/office/drawing/2014/main" id="{40205365-EC3D-461B-8419-314431047CC8}"/>
              </a:ext>
            </a:extLst>
          </p:cNvPr>
          <p:cNvSpPr>
            <a:spLocks noGrp="1"/>
          </p:cNvSpPr>
          <p:nvPr>
            <p:ph type="body" sz="quarter" idx="13"/>
          </p:nvPr>
        </p:nvSpPr>
        <p:spPr/>
        <p:txBody>
          <a:bodyPr/>
          <a:lstStyle/>
          <a:p>
            <a:pPr marL="342900" indent="-342900">
              <a:buFont typeface="+mj-lt"/>
              <a:buAutoNum type="arabicPeriod"/>
            </a:pPr>
            <a:r>
              <a:rPr lang="de-DE"/>
              <a:t>Einleitung</a:t>
            </a:r>
          </a:p>
          <a:p>
            <a:pPr marL="522900" lvl="2" indent="-342900">
              <a:buFont typeface="+mj-lt"/>
              <a:buAutoNum type="arabicPeriod"/>
            </a:pPr>
            <a:r>
              <a:rPr lang="de-DE"/>
              <a:t>Vorstellung Hermes Gruppe und Hermes Germany</a:t>
            </a:r>
          </a:p>
          <a:p>
            <a:pPr marL="522900" lvl="2" indent="-342900">
              <a:buFont typeface="+mj-lt"/>
              <a:buAutoNum type="arabicPeriod"/>
            </a:pPr>
            <a:r>
              <a:rPr lang="de-DE"/>
              <a:t>Vorstellung Stephan und Michael</a:t>
            </a:r>
          </a:p>
          <a:p>
            <a:pPr marL="342900" indent="-342900">
              <a:buFont typeface="+mj-lt"/>
              <a:buAutoNum type="arabicPeriod"/>
            </a:pPr>
            <a:r>
              <a:rPr lang="de-DE"/>
              <a:t>Ausgangsituation</a:t>
            </a:r>
          </a:p>
          <a:p>
            <a:pPr marL="342900" indent="-342900">
              <a:buFont typeface="+mj-lt"/>
              <a:buAutoNum type="arabicPeriod"/>
            </a:pPr>
            <a:r>
              <a:rPr lang="de-DE"/>
              <a:t>End2End/ i2i/ </a:t>
            </a:r>
            <a:r>
              <a:rPr lang="de-DE" err="1"/>
              <a:t>delivery</a:t>
            </a:r>
            <a:endParaRPr lang="de-DE"/>
          </a:p>
          <a:p>
            <a:pPr marL="342900" indent="-342900">
              <a:buFont typeface="+mj-lt"/>
              <a:buAutoNum type="arabicPeriod"/>
            </a:pPr>
            <a:r>
              <a:rPr lang="de-DE" err="1"/>
              <a:t>Growing</a:t>
            </a:r>
            <a:r>
              <a:rPr lang="de-DE"/>
              <a:t> </a:t>
            </a:r>
            <a:r>
              <a:rPr lang="de-DE" err="1"/>
              <a:t>mindset</a:t>
            </a:r>
            <a:endParaRPr lang="de-DE"/>
          </a:p>
          <a:p>
            <a:pPr marL="342900" indent="-342900">
              <a:buFont typeface="+mj-lt"/>
              <a:buAutoNum type="arabicPeriod"/>
            </a:pPr>
            <a:r>
              <a:rPr lang="de-DE"/>
              <a:t>Implementation in </a:t>
            </a:r>
            <a:r>
              <a:rPr lang="de-DE" err="1"/>
              <a:t>the</a:t>
            </a:r>
            <a:r>
              <a:rPr lang="de-DE"/>
              <a:t> </a:t>
            </a:r>
            <a:r>
              <a:rPr lang="de-DE" err="1"/>
              <a:t>organization</a:t>
            </a:r>
            <a:endParaRPr lang="de-DE"/>
          </a:p>
          <a:p>
            <a:pPr marL="342900" indent="-342900">
              <a:buFont typeface="+mj-lt"/>
              <a:buAutoNum type="arabicPeriod"/>
            </a:pPr>
            <a:r>
              <a:rPr lang="de-DE"/>
              <a:t>i2i + Unternehmenssteuerung</a:t>
            </a:r>
          </a:p>
          <a:p>
            <a:pPr marL="342900" indent="-342900">
              <a:buFont typeface="+mj-lt"/>
              <a:buAutoNum type="arabicPeriod"/>
            </a:pPr>
            <a:r>
              <a:rPr lang="de-DE"/>
              <a:t>i2i + Aktivieren </a:t>
            </a:r>
          </a:p>
          <a:p>
            <a:pPr marL="342900" indent="-342900">
              <a:buFont typeface="+mj-lt"/>
              <a:buAutoNum type="arabicPeriod"/>
            </a:pPr>
            <a:endParaRPr lang="de-DE"/>
          </a:p>
          <a:p>
            <a:pPr marL="342900" indent="-342900">
              <a:buFont typeface="+mj-lt"/>
              <a:buAutoNum type="arabicPeriod"/>
            </a:pPr>
            <a:endParaRPr lang="de-DE"/>
          </a:p>
        </p:txBody>
      </p:sp>
    </p:spTree>
    <p:extLst>
      <p:ext uri="{BB962C8B-B14F-4D97-AF65-F5344CB8AC3E}">
        <p14:creationId xmlns:p14="http://schemas.microsoft.com/office/powerpoint/2010/main" val="17762466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0</a:t>
            </a:fld>
            <a:endParaRPr lang="de-DE"/>
          </a:p>
        </p:txBody>
      </p:sp>
      <p:pic>
        <p:nvPicPr>
          <p:cNvPr id="5" name="Grafik 4">
            <a:extLst>
              <a:ext uri="{FF2B5EF4-FFF2-40B4-BE49-F238E27FC236}">
                <a16:creationId xmlns:a16="http://schemas.microsoft.com/office/drawing/2014/main" id="{B479BA6B-8CE7-4995-B54D-693EFC921035}"/>
              </a:ext>
            </a:extLst>
          </p:cNvPr>
          <p:cNvPicPr>
            <a:picLocks noChangeAspect="1"/>
          </p:cNvPicPr>
          <p:nvPr/>
        </p:nvPicPr>
        <p:blipFill>
          <a:blip r:embed="rId2"/>
          <a:stretch>
            <a:fillRect/>
          </a:stretch>
        </p:blipFill>
        <p:spPr>
          <a:xfrm>
            <a:off x="4657685" y="0"/>
            <a:ext cx="4057689" cy="6782747"/>
          </a:xfrm>
          <a:prstGeom prst="rect">
            <a:avLst/>
          </a:prstGeom>
        </p:spPr>
      </p:pic>
    </p:spTree>
    <p:extLst>
      <p:ext uri="{BB962C8B-B14F-4D97-AF65-F5344CB8AC3E}">
        <p14:creationId xmlns:p14="http://schemas.microsoft.com/office/powerpoint/2010/main" val="12446449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Interdepencies in a company</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41</a:t>
            </a:fld>
            <a:endParaRPr lang="en-US"/>
          </a:p>
        </p:txBody>
      </p:sp>
      <p:sp>
        <p:nvSpPr>
          <p:cNvPr id="5" name="Textplatzhalter 4">
            <a:extLst>
              <a:ext uri="{FF2B5EF4-FFF2-40B4-BE49-F238E27FC236}">
                <a16:creationId xmlns:a16="http://schemas.microsoft.com/office/drawing/2014/main" id="{1F160B5E-D354-48F8-8892-2FCE958A8BE1}"/>
              </a:ext>
            </a:extLst>
          </p:cNvPr>
          <p:cNvSpPr>
            <a:spLocks noGrp="1"/>
          </p:cNvSpPr>
          <p:nvPr>
            <p:ph type="body" sz="quarter" idx="13"/>
          </p:nvPr>
        </p:nvSpPr>
        <p:spPr/>
        <p:txBody>
          <a:bodyPr/>
          <a:lstStyle/>
          <a:p>
            <a:r>
              <a:rPr lang="en-US"/>
              <a:t>Technology and organisation</a:t>
            </a:r>
          </a:p>
          <a:p>
            <a:r>
              <a:rPr lang="en-US"/>
              <a:t>Technology and products</a:t>
            </a:r>
          </a:p>
          <a:p>
            <a:endParaRPr lang="en-US"/>
          </a:p>
          <a:p>
            <a:endParaRPr lang="en-US"/>
          </a:p>
          <a:p>
            <a:r>
              <a:rPr lang="en-US"/>
              <a:t>Cloud technology as the key accelerator for speed and innovation.</a:t>
            </a:r>
          </a:p>
        </p:txBody>
      </p:sp>
      <p:pic>
        <p:nvPicPr>
          <p:cNvPr id="4" name="Grafik 3">
            <a:extLst>
              <a:ext uri="{FF2B5EF4-FFF2-40B4-BE49-F238E27FC236}">
                <a16:creationId xmlns:a16="http://schemas.microsoft.com/office/drawing/2014/main" id="{EDB93EAE-C0A9-458E-9389-BBBA3859A611}"/>
              </a:ext>
            </a:extLst>
          </p:cNvPr>
          <p:cNvPicPr>
            <a:picLocks noChangeAspect="1"/>
          </p:cNvPicPr>
          <p:nvPr/>
        </p:nvPicPr>
        <p:blipFill>
          <a:blip r:embed="rId2"/>
          <a:stretch>
            <a:fillRect/>
          </a:stretch>
        </p:blipFill>
        <p:spPr>
          <a:xfrm rot="21291514">
            <a:off x="8607973" y="3868163"/>
            <a:ext cx="3067530" cy="2261175"/>
          </a:xfrm>
          <a:prstGeom prst="rect">
            <a:avLst/>
          </a:prstGeom>
          <a:ln>
            <a:solidFill>
              <a:schemeClr val="tx1"/>
            </a:solidFill>
          </a:ln>
        </p:spPr>
      </p:pic>
      <p:pic>
        <p:nvPicPr>
          <p:cNvPr id="6" name="Grafik 5">
            <a:extLst>
              <a:ext uri="{FF2B5EF4-FFF2-40B4-BE49-F238E27FC236}">
                <a16:creationId xmlns:a16="http://schemas.microsoft.com/office/drawing/2014/main" id="{8F455950-24E3-4BB1-99D0-C5C0C9C815B2}"/>
              </a:ext>
            </a:extLst>
          </p:cNvPr>
          <p:cNvPicPr>
            <a:picLocks noChangeAspect="1"/>
          </p:cNvPicPr>
          <p:nvPr/>
        </p:nvPicPr>
        <p:blipFill>
          <a:blip r:embed="rId3"/>
          <a:stretch>
            <a:fillRect/>
          </a:stretch>
        </p:blipFill>
        <p:spPr>
          <a:xfrm rot="4666349">
            <a:off x="8420977" y="-37220"/>
            <a:ext cx="2370311" cy="3303674"/>
          </a:xfrm>
          <a:prstGeom prst="rect">
            <a:avLst/>
          </a:prstGeom>
        </p:spPr>
      </p:pic>
      <p:sp>
        <p:nvSpPr>
          <p:cNvPr id="7" name="Pfeil: nach rechts 6">
            <a:extLst>
              <a:ext uri="{FF2B5EF4-FFF2-40B4-BE49-F238E27FC236}">
                <a16:creationId xmlns:a16="http://schemas.microsoft.com/office/drawing/2014/main" id="{4418F5AA-CB33-4BEC-878A-AC38B9445CCB}"/>
              </a:ext>
            </a:extLst>
          </p:cNvPr>
          <p:cNvSpPr/>
          <p:nvPr/>
        </p:nvSpPr>
        <p:spPr>
          <a:xfrm rot="21238003" flipH="1">
            <a:off x="5582936" y="1220198"/>
            <a:ext cx="1887522" cy="135048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80000" indent="-180000" algn="l">
              <a:spcBef>
                <a:spcPts val="300"/>
              </a:spcBef>
              <a:buFont typeface="Arial" panose="020B0604020202020204" pitchFamily="34" charset="0"/>
              <a:buChar char="•"/>
            </a:pPr>
            <a:r>
              <a:rPr lang="en-US" sz="1600"/>
              <a:t>TODO: add these points there</a:t>
            </a:r>
          </a:p>
        </p:txBody>
      </p:sp>
    </p:spTree>
    <p:extLst>
      <p:ext uri="{BB962C8B-B14F-4D97-AF65-F5344CB8AC3E}">
        <p14:creationId xmlns:p14="http://schemas.microsoft.com/office/powerpoint/2010/main" val="12491479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Change - What things to take into account</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42</a:t>
            </a:fld>
            <a:endParaRPr lang="en-US"/>
          </a:p>
        </p:txBody>
      </p:sp>
      <p:sp>
        <p:nvSpPr>
          <p:cNvPr id="5" name="Textplatzhalter 4">
            <a:extLst>
              <a:ext uri="{FF2B5EF4-FFF2-40B4-BE49-F238E27FC236}">
                <a16:creationId xmlns:a16="http://schemas.microsoft.com/office/drawing/2014/main" id="{4CA2D85A-4E70-40C3-8DF8-AF13506771AF}"/>
              </a:ext>
            </a:extLst>
          </p:cNvPr>
          <p:cNvSpPr>
            <a:spLocks noGrp="1"/>
          </p:cNvSpPr>
          <p:nvPr>
            <p:ph type="body" sz="quarter" idx="13"/>
          </p:nvPr>
        </p:nvSpPr>
        <p:spPr/>
        <p:txBody>
          <a:bodyPr/>
          <a:lstStyle/>
          <a:p>
            <a:r>
              <a:rPr lang="en-US"/>
              <a:t>Don‘t change too many things at the same time.</a:t>
            </a:r>
          </a:p>
          <a:p>
            <a:r>
              <a:rPr lang="en-US"/>
              <a:t>Organizations try to resist change. Change even generates envy and hate in other parts of your organization.</a:t>
            </a:r>
          </a:p>
          <a:p>
            <a:r>
              <a:rPr lang="en-US"/>
              <a:t>Change comes with a price and benefits might take some time.</a:t>
            </a:r>
          </a:p>
          <a:p>
            <a:r>
              <a:rPr lang="en-US"/>
              <a:t>Have a plan but don‘t limit yourselves to it.</a:t>
            </a:r>
          </a:p>
          <a:p>
            <a:r>
              <a:rPr lang="en-US"/>
              <a:t>It is impossible to convince everyone in a big company to follow the same ideals and ideas. Make sure to be able to interact with approaches of other parts in the company.</a:t>
            </a:r>
          </a:p>
          <a:p>
            <a:endParaRPr lang="en-US"/>
          </a:p>
          <a:p>
            <a:endParaRPr lang="en-US"/>
          </a:p>
          <a:p>
            <a:endParaRPr lang="en-US"/>
          </a:p>
        </p:txBody>
      </p:sp>
      <p:pic>
        <p:nvPicPr>
          <p:cNvPr id="4" name="Grafik 3">
            <a:extLst>
              <a:ext uri="{FF2B5EF4-FFF2-40B4-BE49-F238E27FC236}">
                <a16:creationId xmlns:a16="http://schemas.microsoft.com/office/drawing/2014/main" id="{CE40614A-8862-4294-8BD3-6D45CCE72473}"/>
              </a:ext>
            </a:extLst>
          </p:cNvPr>
          <p:cNvPicPr>
            <a:picLocks noChangeAspect="1"/>
          </p:cNvPicPr>
          <p:nvPr/>
        </p:nvPicPr>
        <p:blipFill>
          <a:blip r:embed="rId2"/>
          <a:stretch>
            <a:fillRect/>
          </a:stretch>
        </p:blipFill>
        <p:spPr>
          <a:xfrm rot="21135817">
            <a:off x="8003931" y="4892299"/>
            <a:ext cx="3894455" cy="1560957"/>
          </a:xfrm>
          <a:prstGeom prst="rect">
            <a:avLst/>
          </a:prstGeom>
        </p:spPr>
      </p:pic>
      <p:sp>
        <p:nvSpPr>
          <p:cNvPr id="6" name="Rechteck 5">
            <a:extLst>
              <a:ext uri="{FF2B5EF4-FFF2-40B4-BE49-F238E27FC236}">
                <a16:creationId xmlns:a16="http://schemas.microsoft.com/office/drawing/2014/main" id="{4AA6DC00-2919-472E-BB60-98969C3528F2}"/>
              </a:ext>
            </a:extLst>
          </p:cNvPr>
          <p:cNvSpPr/>
          <p:nvPr/>
        </p:nvSpPr>
        <p:spPr>
          <a:xfrm rot="527630">
            <a:off x="9282659" y="489915"/>
            <a:ext cx="2155970" cy="9039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spcBef>
                <a:spcPts val="300"/>
              </a:spcBef>
            </a:pPr>
            <a:r>
              <a:rPr lang="en-US" sz="1600"/>
              <a:t>Don‘t use all points, select best ones</a:t>
            </a:r>
          </a:p>
        </p:txBody>
      </p:sp>
    </p:spTree>
    <p:extLst>
      <p:ext uri="{BB962C8B-B14F-4D97-AF65-F5344CB8AC3E}">
        <p14:creationId xmlns:p14="http://schemas.microsoft.com/office/powerpoint/2010/main" val="6746523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err="1"/>
              <a:t>Ideas</a:t>
            </a:r>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3</a:t>
            </a:fld>
            <a:endParaRPr lang="de-DE"/>
          </a:p>
        </p:txBody>
      </p:sp>
      <p:pic>
        <p:nvPicPr>
          <p:cNvPr id="5" name="Grafik 4">
            <a:extLst>
              <a:ext uri="{FF2B5EF4-FFF2-40B4-BE49-F238E27FC236}">
                <a16:creationId xmlns:a16="http://schemas.microsoft.com/office/drawing/2014/main" id="{447CAF3A-ACB7-4D0C-9DA7-1C0FD419570A}"/>
              </a:ext>
            </a:extLst>
          </p:cNvPr>
          <p:cNvPicPr>
            <a:picLocks noChangeAspect="1"/>
          </p:cNvPicPr>
          <p:nvPr/>
        </p:nvPicPr>
        <p:blipFill>
          <a:blip r:embed="rId2"/>
          <a:stretch>
            <a:fillRect/>
          </a:stretch>
        </p:blipFill>
        <p:spPr>
          <a:xfrm>
            <a:off x="2197094" y="359646"/>
            <a:ext cx="9912859" cy="6343976"/>
          </a:xfrm>
          <a:prstGeom prst="rect">
            <a:avLst/>
          </a:prstGeom>
        </p:spPr>
      </p:pic>
    </p:spTree>
    <p:extLst>
      <p:ext uri="{BB962C8B-B14F-4D97-AF65-F5344CB8AC3E}">
        <p14:creationId xmlns:p14="http://schemas.microsoft.com/office/powerpoint/2010/main" val="1397349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err="1"/>
              <a:t>Ideas</a:t>
            </a:r>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4</a:t>
            </a:fld>
            <a:endParaRPr lang="de-DE"/>
          </a:p>
        </p:txBody>
      </p:sp>
      <p:pic>
        <p:nvPicPr>
          <p:cNvPr id="4" name="Grafik 3">
            <a:extLst>
              <a:ext uri="{FF2B5EF4-FFF2-40B4-BE49-F238E27FC236}">
                <a16:creationId xmlns:a16="http://schemas.microsoft.com/office/drawing/2014/main" id="{7B759AF6-93A8-416A-AD68-C2DD711D6A5D}"/>
              </a:ext>
            </a:extLst>
          </p:cNvPr>
          <p:cNvPicPr>
            <a:picLocks noChangeAspect="1"/>
          </p:cNvPicPr>
          <p:nvPr/>
        </p:nvPicPr>
        <p:blipFill>
          <a:blip r:embed="rId2"/>
          <a:stretch>
            <a:fillRect/>
          </a:stretch>
        </p:blipFill>
        <p:spPr>
          <a:xfrm>
            <a:off x="1611880" y="1044609"/>
            <a:ext cx="9041266" cy="4768782"/>
          </a:xfrm>
          <a:prstGeom prst="rect">
            <a:avLst/>
          </a:prstGeom>
        </p:spPr>
      </p:pic>
    </p:spTree>
    <p:extLst>
      <p:ext uri="{BB962C8B-B14F-4D97-AF65-F5344CB8AC3E}">
        <p14:creationId xmlns:p14="http://schemas.microsoft.com/office/powerpoint/2010/main" val="27368458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en-US"/>
              <a:t>General terms to use</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en-US" smtClean="0"/>
              <a:pPr/>
              <a:t>45</a:t>
            </a:fld>
            <a:endParaRPr lang="en-US"/>
          </a:p>
        </p:txBody>
      </p:sp>
      <p:sp>
        <p:nvSpPr>
          <p:cNvPr id="4" name="Textplatzhalter 3">
            <a:extLst>
              <a:ext uri="{FF2B5EF4-FFF2-40B4-BE49-F238E27FC236}">
                <a16:creationId xmlns:a16="http://schemas.microsoft.com/office/drawing/2014/main" id="{1999AABB-833E-4FFF-8330-4C348EE5759B}"/>
              </a:ext>
            </a:extLst>
          </p:cNvPr>
          <p:cNvSpPr>
            <a:spLocks noGrp="1"/>
          </p:cNvSpPr>
          <p:nvPr>
            <p:ph type="body" sz="quarter" idx="13"/>
          </p:nvPr>
        </p:nvSpPr>
        <p:spPr/>
        <p:txBody>
          <a:bodyPr/>
          <a:lstStyle/>
          <a:p>
            <a:pPr marL="285750" lvl="0" indent="-285750">
              <a:buFont typeface="Arial" panose="020B0604020202020204" pitchFamily="34" charset="0"/>
              <a:buChar char="•"/>
            </a:pPr>
            <a:r>
              <a:rPr lang="en-US"/>
              <a:t>Leverage</a:t>
            </a:r>
          </a:p>
          <a:p>
            <a:pPr marL="285750" lvl="0" indent="-285750">
              <a:buFont typeface="Arial" panose="020B0604020202020204" pitchFamily="34" charset="0"/>
              <a:buChar char="•"/>
            </a:pPr>
            <a:r>
              <a:rPr lang="en-US"/>
              <a:t>Accelerate</a:t>
            </a:r>
          </a:p>
          <a:p>
            <a:pPr marL="285750" lvl="0" indent="-285750">
              <a:buFont typeface="Arial" panose="020B0604020202020204" pitchFamily="34" charset="0"/>
              <a:buChar char="•"/>
            </a:pPr>
            <a:r>
              <a:rPr lang="en-US"/>
              <a:t>Constraint</a:t>
            </a:r>
          </a:p>
          <a:p>
            <a:pPr marL="285750" lvl="0" indent="-285750">
              <a:buFont typeface="Arial" panose="020B0604020202020204" pitchFamily="34" charset="0"/>
              <a:buChar char="•"/>
            </a:pPr>
            <a:r>
              <a:rPr lang="en-US"/>
              <a:t>Value</a:t>
            </a:r>
          </a:p>
          <a:p>
            <a:pPr marL="285750" lvl="0" indent="-285750">
              <a:buFont typeface="Arial" panose="020B0604020202020204" pitchFamily="34" charset="0"/>
              <a:buChar char="•"/>
            </a:pPr>
            <a:r>
              <a:rPr lang="en-US"/>
              <a:t>Cloud-only strategy</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873168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Folien Ideen</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6</a:t>
            </a:fld>
            <a:endParaRPr lang="de-DE"/>
          </a:p>
        </p:txBody>
      </p:sp>
    </p:spTree>
    <p:extLst>
      <p:ext uri="{BB962C8B-B14F-4D97-AF65-F5344CB8AC3E}">
        <p14:creationId xmlns:p14="http://schemas.microsoft.com/office/powerpoint/2010/main" val="36084518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Folien Ideen</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7</a:t>
            </a:fld>
            <a:endParaRPr lang="de-DE"/>
          </a:p>
        </p:txBody>
      </p:sp>
    </p:spTree>
    <p:extLst>
      <p:ext uri="{BB962C8B-B14F-4D97-AF65-F5344CB8AC3E}">
        <p14:creationId xmlns:p14="http://schemas.microsoft.com/office/powerpoint/2010/main" val="3485093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Folien Ideen</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48</a:t>
            </a:fld>
            <a:endParaRPr lang="de-DE"/>
          </a:p>
        </p:txBody>
      </p:sp>
    </p:spTree>
    <p:extLst>
      <p:ext uri="{BB962C8B-B14F-4D97-AF65-F5344CB8AC3E}">
        <p14:creationId xmlns:p14="http://schemas.microsoft.com/office/powerpoint/2010/main" val="251266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C35127-098B-4356-819E-FEF73E9AE422}"/>
              </a:ext>
            </a:extLst>
          </p:cNvPr>
          <p:cNvSpPr>
            <a:spLocks noGrp="1"/>
          </p:cNvSpPr>
          <p:nvPr>
            <p:ph type="title"/>
          </p:nvPr>
        </p:nvSpPr>
        <p:spPr/>
        <p:txBody>
          <a:bodyPr/>
          <a:lstStyle/>
          <a:p>
            <a:r>
              <a:rPr lang="de-DE"/>
              <a:t>Gedanken</a:t>
            </a:r>
          </a:p>
        </p:txBody>
      </p:sp>
      <p:sp>
        <p:nvSpPr>
          <p:cNvPr id="3" name="Foliennummernplatzhalter 2">
            <a:extLst>
              <a:ext uri="{FF2B5EF4-FFF2-40B4-BE49-F238E27FC236}">
                <a16:creationId xmlns:a16="http://schemas.microsoft.com/office/drawing/2014/main" id="{6229FBE7-C618-4AE2-8FAB-6581B3BFB87A}"/>
              </a:ext>
            </a:extLst>
          </p:cNvPr>
          <p:cNvSpPr>
            <a:spLocks noGrp="1"/>
          </p:cNvSpPr>
          <p:nvPr>
            <p:ph type="sldNum" sz="quarter" idx="12"/>
          </p:nvPr>
        </p:nvSpPr>
        <p:spPr/>
        <p:txBody>
          <a:bodyPr/>
          <a:lstStyle/>
          <a:p>
            <a:fld id="{D45191E9-993A-4B71-A5D0-51B0F1A4B1BB}" type="slidenum">
              <a:rPr lang="de-DE" smtClean="0"/>
              <a:pPr/>
              <a:t>49</a:t>
            </a:fld>
            <a:endParaRPr lang="de-DE"/>
          </a:p>
        </p:txBody>
      </p:sp>
      <p:sp>
        <p:nvSpPr>
          <p:cNvPr id="4" name="Textplatzhalter 3">
            <a:extLst>
              <a:ext uri="{FF2B5EF4-FFF2-40B4-BE49-F238E27FC236}">
                <a16:creationId xmlns:a16="http://schemas.microsoft.com/office/drawing/2014/main" id="{3C702660-BB21-4904-9C84-C053D2686C1C}"/>
              </a:ext>
            </a:extLst>
          </p:cNvPr>
          <p:cNvSpPr>
            <a:spLocks noGrp="1"/>
          </p:cNvSpPr>
          <p:nvPr>
            <p:ph type="body" sz="quarter" idx="13"/>
          </p:nvPr>
        </p:nvSpPr>
        <p:spPr/>
        <p:txBody>
          <a:bodyPr/>
          <a:lstStyle/>
          <a:p>
            <a:pPr marL="285750" indent="-285750">
              <a:buFont typeface="Arial" panose="020B0604020202020204" pitchFamily="34" charset="0"/>
              <a:buChar char="•"/>
            </a:pPr>
            <a:r>
              <a:rPr lang="de-DE"/>
              <a:t>Was uns wirklich schwerfällt ist, </a:t>
            </a:r>
            <a:r>
              <a:rPr lang="de-DE" err="1"/>
              <a:t>Stop</a:t>
            </a:r>
            <a:r>
              <a:rPr lang="de-DE"/>
              <a:t> </a:t>
            </a:r>
            <a:r>
              <a:rPr lang="de-DE" err="1"/>
              <a:t>Starting</a:t>
            </a:r>
            <a:r>
              <a:rPr lang="de-DE"/>
              <a:t>, Start </a:t>
            </a:r>
            <a:r>
              <a:rPr lang="de-DE" err="1"/>
              <a:t>Finishing</a:t>
            </a:r>
            <a:r>
              <a:rPr lang="de-DE"/>
              <a:t> umzusetzen. Das gilt auf allen Ebenen, vor allem auch im Management</a:t>
            </a:r>
          </a:p>
          <a:p>
            <a:pPr marL="285750" indent="-285750">
              <a:buFont typeface="Arial" panose="020B0604020202020204" pitchFamily="34" charset="0"/>
              <a:buChar char="•"/>
            </a:pPr>
            <a:r>
              <a:rPr lang="de-DE"/>
              <a:t>Es reicht als Manager nicht mehr, rein aufbauorganisatorisch zu denken. Methodische Arbeit ist notwendig, sobald es um die Koordination der Zusammenarbeit geht. Ansonsten bleibt entweder die Koordination oder der eigene Führungsanspruch auf der Strecke.</a:t>
            </a:r>
          </a:p>
        </p:txBody>
      </p:sp>
    </p:spTree>
    <p:extLst>
      <p:ext uri="{BB962C8B-B14F-4D97-AF65-F5344CB8AC3E}">
        <p14:creationId xmlns:p14="http://schemas.microsoft.com/office/powerpoint/2010/main" val="1248502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Storyline</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5</a:t>
            </a:fld>
            <a:endParaRPr lang="de-DE"/>
          </a:p>
        </p:txBody>
      </p:sp>
      <p:sp>
        <p:nvSpPr>
          <p:cNvPr id="4" name="Textplatzhalter 3">
            <a:extLst>
              <a:ext uri="{FF2B5EF4-FFF2-40B4-BE49-F238E27FC236}">
                <a16:creationId xmlns:a16="http://schemas.microsoft.com/office/drawing/2014/main" id="{40205365-EC3D-461B-8419-314431047CC8}"/>
              </a:ext>
            </a:extLst>
          </p:cNvPr>
          <p:cNvSpPr>
            <a:spLocks noGrp="1"/>
          </p:cNvSpPr>
          <p:nvPr>
            <p:ph type="body" sz="quarter" idx="13"/>
          </p:nvPr>
        </p:nvSpPr>
        <p:spPr/>
        <p:txBody>
          <a:bodyPr/>
          <a:lstStyle/>
          <a:p>
            <a:r>
              <a:rPr lang="de-DE" sz="3200"/>
              <a:t>Wir gehen einen Weg…</a:t>
            </a:r>
          </a:p>
          <a:p>
            <a:endParaRPr lang="de-DE" sz="3200"/>
          </a:p>
          <a:p>
            <a:r>
              <a:rPr lang="de-DE" sz="3200"/>
              <a:t>Integration verschiedener Disziplinen ermöglichen gemeinsames Wachstum.</a:t>
            </a:r>
          </a:p>
        </p:txBody>
      </p:sp>
    </p:spTree>
    <p:extLst>
      <p:ext uri="{BB962C8B-B14F-4D97-AF65-F5344CB8AC3E}">
        <p14:creationId xmlns:p14="http://schemas.microsoft.com/office/powerpoint/2010/main" val="23347397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06F1A051-4A8F-481A-ADDA-220C0838990C}"/>
              </a:ext>
            </a:extLst>
          </p:cNvPr>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35530251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err="1"/>
              <a:t>To</a:t>
            </a:r>
            <a:r>
              <a:rPr lang="de-DE"/>
              <a:t> Do</a:t>
            </a:r>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51</a:t>
            </a:fld>
            <a:endParaRPr lang="de-DE"/>
          </a:p>
        </p:txBody>
      </p:sp>
      <p:pic>
        <p:nvPicPr>
          <p:cNvPr id="5" name="Grafik 4">
            <a:extLst>
              <a:ext uri="{FF2B5EF4-FFF2-40B4-BE49-F238E27FC236}">
                <a16:creationId xmlns:a16="http://schemas.microsoft.com/office/drawing/2014/main" id="{EB18AA64-9318-4BBA-A041-6D21A48A9B2C}"/>
              </a:ext>
            </a:extLst>
          </p:cNvPr>
          <p:cNvPicPr>
            <a:picLocks noChangeAspect="1"/>
          </p:cNvPicPr>
          <p:nvPr/>
        </p:nvPicPr>
        <p:blipFill>
          <a:blip r:embed="rId2"/>
          <a:stretch>
            <a:fillRect/>
          </a:stretch>
        </p:blipFill>
        <p:spPr>
          <a:xfrm>
            <a:off x="5443444" y="212630"/>
            <a:ext cx="6519553" cy="6645370"/>
          </a:xfrm>
          <a:prstGeom prst="rect">
            <a:avLst/>
          </a:prstGeom>
        </p:spPr>
      </p:pic>
    </p:spTree>
    <p:extLst>
      <p:ext uri="{BB962C8B-B14F-4D97-AF65-F5344CB8AC3E}">
        <p14:creationId xmlns:p14="http://schemas.microsoft.com/office/powerpoint/2010/main" val="16708672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52</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Abschnitt</a:t>
            </a:r>
          </a:p>
        </p:txBody>
      </p:sp>
      <p:pic>
        <p:nvPicPr>
          <p:cNvPr id="4" name="Grafik 3">
            <a:extLst>
              <a:ext uri="{FF2B5EF4-FFF2-40B4-BE49-F238E27FC236}">
                <a16:creationId xmlns:a16="http://schemas.microsoft.com/office/drawing/2014/main" id="{F44D749D-E23D-4F24-8B1E-E843D78DBF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39805130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53</a:t>
            </a:fld>
            <a:endParaRPr lang="de-DE"/>
          </a:p>
        </p:txBody>
      </p:sp>
      <p:sp>
        <p:nvSpPr>
          <p:cNvPr id="4" name="Textplatzhalter 3">
            <a:extLst>
              <a:ext uri="{FF2B5EF4-FFF2-40B4-BE49-F238E27FC236}">
                <a16:creationId xmlns:a16="http://schemas.microsoft.com/office/drawing/2014/main" id="{40205365-EC3D-461B-8419-314431047CC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366318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6</a:t>
            </a:fld>
            <a:endParaRPr lang="de-DE"/>
          </a:p>
        </p:txBody>
      </p:sp>
      <p:pic>
        <p:nvPicPr>
          <p:cNvPr id="6" name="Grafik 5">
            <a:extLst>
              <a:ext uri="{FF2B5EF4-FFF2-40B4-BE49-F238E27FC236}">
                <a16:creationId xmlns:a16="http://schemas.microsoft.com/office/drawing/2014/main" id="{C795A963-CB0B-458E-A340-1C68A1F0CA8A}"/>
              </a:ext>
            </a:extLst>
          </p:cNvPr>
          <p:cNvPicPr>
            <a:picLocks noChangeAspect="1"/>
          </p:cNvPicPr>
          <p:nvPr/>
        </p:nvPicPr>
        <p:blipFill rotWithShape="1">
          <a:blip r:embed="rId2"/>
          <a:srcRect b="75629"/>
          <a:stretch/>
        </p:blipFill>
        <p:spPr>
          <a:xfrm>
            <a:off x="101599" y="1229049"/>
            <a:ext cx="11168711" cy="3757289"/>
          </a:xfrm>
          <a:prstGeom prst="rect">
            <a:avLst/>
          </a:prstGeom>
        </p:spPr>
      </p:pic>
      <p:cxnSp>
        <p:nvCxnSpPr>
          <p:cNvPr id="4" name="Gerade Verbindung mit Pfeil 3">
            <a:extLst>
              <a:ext uri="{FF2B5EF4-FFF2-40B4-BE49-F238E27FC236}">
                <a16:creationId xmlns:a16="http://schemas.microsoft.com/office/drawing/2014/main" id="{33906723-1A80-45AB-BDD5-A9254A2BE0E3}"/>
              </a:ext>
            </a:extLst>
          </p:cNvPr>
          <p:cNvCxnSpPr/>
          <p:nvPr/>
        </p:nvCxnSpPr>
        <p:spPr>
          <a:xfrm flipH="1">
            <a:off x="9026554" y="746620"/>
            <a:ext cx="1442907" cy="1149292"/>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277CF3C5-5A86-4DCA-B3CA-91393AEAC936}"/>
              </a:ext>
            </a:extLst>
          </p:cNvPr>
          <p:cNvSpPr txBox="1"/>
          <p:nvPr/>
        </p:nvSpPr>
        <p:spPr>
          <a:xfrm>
            <a:off x="10693717" y="530480"/>
            <a:ext cx="352337" cy="553998"/>
          </a:xfrm>
          <a:prstGeom prst="rect">
            <a:avLst/>
          </a:prstGeom>
          <a:noFill/>
        </p:spPr>
        <p:txBody>
          <a:bodyPr wrap="square" lIns="0" tIns="0" rIns="0" bIns="0" rtlCol="0">
            <a:spAutoFit/>
          </a:bodyPr>
          <a:lstStyle/>
          <a:p>
            <a:pPr>
              <a:spcBef>
                <a:spcPts val="300"/>
              </a:spcBef>
              <a:buClr>
                <a:schemeClr val="tx2"/>
              </a:buClr>
            </a:pPr>
            <a:r>
              <a:rPr lang="de-DE" sz="3600"/>
              <a:t>!</a:t>
            </a:r>
          </a:p>
        </p:txBody>
      </p:sp>
      <p:cxnSp>
        <p:nvCxnSpPr>
          <p:cNvPr id="7" name="Gerade Verbindung mit Pfeil 6">
            <a:extLst>
              <a:ext uri="{FF2B5EF4-FFF2-40B4-BE49-F238E27FC236}">
                <a16:creationId xmlns:a16="http://schemas.microsoft.com/office/drawing/2014/main" id="{6A22B9BA-CB2C-4075-A6FF-F5A73B1EC861}"/>
              </a:ext>
            </a:extLst>
          </p:cNvPr>
          <p:cNvCxnSpPr/>
          <p:nvPr/>
        </p:nvCxnSpPr>
        <p:spPr>
          <a:xfrm flipH="1">
            <a:off x="9939530" y="1372329"/>
            <a:ext cx="1442907" cy="1149292"/>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A2A0148E-BB7E-4ED8-9A29-71C1331949EB}"/>
              </a:ext>
            </a:extLst>
          </p:cNvPr>
          <p:cNvSpPr txBox="1"/>
          <p:nvPr/>
        </p:nvSpPr>
        <p:spPr>
          <a:xfrm>
            <a:off x="11606693" y="1156189"/>
            <a:ext cx="352337" cy="553998"/>
          </a:xfrm>
          <a:prstGeom prst="rect">
            <a:avLst/>
          </a:prstGeom>
          <a:noFill/>
        </p:spPr>
        <p:txBody>
          <a:bodyPr wrap="square" lIns="0" tIns="0" rIns="0" bIns="0" rtlCol="0">
            <a:spAutoFit/>
          </a:bodyPr>
          <a:lstStyle/>
          <a:p>
            <a:pPr>
              <a:spcBef>
                <a:spcPts val="300"/>
              </a:spcBef>
              <a:buClr>
                <a:schemeClr val="tx2"/>
              </a:buClr>
            </a:pPr>
            <a:r>
              <a:rPr lang="de-DE" sz="3600"/>
              <a:t>!</a:t>
            </a:r>
          </a:p>
        </p:txBody>
      </p:sp>
    </p:spTree>
    <p:extLst>
      <p:ext uri="{BB962C8B-B14F-4D97-AF65-F5344CB8AC3E}">
        <p14:creationId xmlns:p14="http://schemas.microsoft.com/office/powerpoint/2010/main" val="1786585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E4A998-7E8F-4C73-B638-2AD602E74401}"/>
              </a:ext>
            </a:extLst>
          </p:cNvPr>
          <p:cNvSpPr>
            <a:spLocks noGrp="1"/>
          </p:cNvSpPr>
          <p:nvPr>
            <p:ph type="title"/>
          </p:nvPr>
        </p:nvSpPr>
        <p:spPr/>
        <p:txBody>
          <a:bodyPr/>
          <a:lstStyle/>
          <a:p>
            <a:r>
              <a:rPr lang="de-DE"/>
              <a:t>Call </a:t>
            </a:r>
            <a:r>
              <a:rPr lang="de-DE" err="1"/>
              <a:t>for</a:t>
            </a:r>
            <a:r>
              <a:rPr lang="de-DE"/>
              <a:t> </a:t>
            </a:r>
            <a:r>
              <a:rPr lang="de-DE" err="1"/>
              <a:t>papers</a:t>
            </a:r>
            <a:endParaRPr lang="de-DE"/>
          </a:p>
        </p:txBody>
      </p:sp>
      <p:sp>
        <p:nvSpPr>
          <p:cNvPr id="3" name="Foliennummernplatzhalter 2">
            <a:extLst>
              <a:ext uri="{FF2B5EF4-FFF2-40B4-BE49-F238E27FC236}">
                <a16:creationId xmlns:a16="http://schemas.microsoft.com/office/drawing/2014/main" id="{8B70788E-B6D7-4F4F-8BE4-4747D36CC8BE}"/>
              </a:ext>
            </a:extLst>
          </p:cNvPr>
          <p:cNvSpPr>
            <a:spLocks noGrp="1"/>
          </p:cNvSpPr>
          <p:nvPr>
            <p:ph type="sldNum" sz="quarter" idx="12"/>
          </p:nvPr>
        </p:nvSpPr>
        <p:spPr/>
        <p:txBody>
          <a:bodyPr/>
          <a:lstStyle/>
          <a:p>
            <a:fld id="{D45191E9-993A-4B71-A5D0-51B0F1A4B1BB}" type="slidenum">
              <a:rPr lang="de-DE" smtClean="0"/>
              <a:pPr/>
              <a:t>7</a:t>
            </a:fld>
            <a:endParaRPr lang="de-DE"/>
          </a:p>
        </p:txBody>
      </p:sp>
      <p:pic>
        <p:nvPicPr>
          <p:cNvPr id="5" name="Grafik 4">
            <a:extLst>
              <a:ext uri="{FF2B5EF4-FFF2-40B4-BE49-F238E27FC236}">
                <a16:creationId xmlns:a16="http://schemas.microsoft.com/office/drawing/2014/main" id="{79201616-6E95-407F-8034-0A74973253D5}"/>
              </a:ext>
            </a:extLst>
          </p:cNvPr>
          <p:cNvPicPr>
            <a:picLocks noChangeAspect="1"/>
          </p:cNvPicPr>
          <p:nvPr/>
        </p:nvPicPr>
        <p:blipFill rotWithShape="1">
          <a:blip r:embed="rId2"/>
          <a:srcRect t="26008"/>
          <a:stretch/>
        </p:blipFill>
        <p:spPr>
          <a:xfrm>
            <a:off x="5443538" y="14286"/>
            <a:ext cx="6646588" cy="6790951"/>
          </a:xfrm>
          <a:prstGeom prst="rect">
            <a:avLst/>
          </a:prstGeom>
        </p:spPr>
      </p:pic>
    </p:spTree>
    <p:extLst>
      <p:ext uri="{BB962C8B-B14F-4D97-AF65-F5344CB8AC3E}">
        <p14:creationId xmlns:p14="http://schemas.microsoft.com/office/powerpoint/2010/main" val="2267256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74D31B0-500D-4F51-9489-284C1D712D23}"/>
              </a:ext>
            </a:extLst>
          </p:cNvPr>
          <p:cNvSpPr>
            <a:spLocks noGrp="1"/>
          </p:cNvSpPr>
          <p:nvPr>
            <p:ph type="sldNum" sz="quarter" idx="12"/>
          </p:nvPr>
        </p:nvSpPr>
        <p:spPr/>
        <p:txBody>
          <a:bodyPr/>
          <a:lstStyle/>
          <a:p>
            <a:fld id="{D45191E9-993A-4B71-A5D0-51B0F1A4B1BB}" type="slidenum">
              <a:rPr lang="de-DE" smtClean="0"/>
              <a:pPr/>
              <a:t>8</a:t>
            </a:fld>
            <a:endParaRPr lang="de-DE"/>
          </a:p>
        </p:txBody>
      </p:sp>
      <p:sp>
        <p:nvSpPr>
          <p:cNvPr id="5" name="Rechteck 4">
            <a:extLst>
              <a:ext uri="{FF2B5EF4-FFF2-40B4-BE49-F238E27FC236}">
                <a16:creationId xmlns:a16="http://schemas.microsoft.com/office/drawing/2014/main" id="{86A401B8-939D-478C-9AF6-9C1C517BEDA8}"/>
              </a:ext>
            </a:extLst>
          </p:cNvPr>
          <p:cNvSpPr/>
          <p:nvPr/>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pPr>
            <a:r>
              <a:rPr lang="de-DE" sz="4400"/>
              <a:t>1 - </a:t>
            </a:r>
            <a:r>
              <a:rPr lang="de-DE" sz="4400" err="1"/>
              <a:t>Introduction</a:t>
            </a:r>
            <a:endParaRPr lang="de-DE" sz="4400"/>
          </a:p>
        </p:txBody>
      </p:sp>
      <p:pic>
        <p:nvPicPr>
          <p:cNvPr id="4" name="Grafik 3">
            <a:extLst>
              <a:ext uri="{FF2B5EF4-FFF2-40B4-BE49-F238E27FC236}">
                <a16:creationId xmlns:a16="http://schemas.microsoft.com/office/drawing/2014/main" id="{66CBF19E-FA71-4678-A9FC-B14EE7C9C6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25743" y="6426570"/>
            <a:ext cx="1355638" cy="208008"/>
          </a:xfrm>
          <a:prstGeom prst="rect">
            <a:avLst/>
          </a:prstGeom>
        </p:spPr>
      </p:pic>
    </p:spTree>
    <p:extLst>
      <p:ext uri="{BB962C8B-B14F-4D97-AF65-F5344CB8AC3E}">
        <p14:creationId xmlns:p14="http://schemas.microsoft.com/office/powerpoint/2010/main" val="3150901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r="-1"/>
          <a:stretch/>
        </p:blipFill>
        <p:spPr>
          <a:xfrm>
            <a:off x="0" y="0"/>
            <a:ext cx="12192000" cy="6858000"/>
          </a:xfrm>
        </p:spPr>
      </p:pic>
      <p:sp>
        <p:nvSpPr>
          <p:cNvPr id="10" name="Textplatzhalter 3"/>
          <p:cNvSpPr>
            <a:spLocks noGrp="1"/>
          </p:cNvSpPr>
          <p:nvPr>
            <p:ph type="body" sz="quarter" idx="4294967295"/>
          </p:nvPr>
        </p:nvSpPr>
        <p:spPr>
          <a:xfrm>
            <a:off x="629100" y="3569875"/>
            <a:ext cx="4674812" cy="1661221"/>
          </a:xfrm>
          <a:prstGeom prst="rect">
            <a:avLst/>
          </a:prstGeom>
          <a:solidFill>
            <a:srgbClr val="0091CD">
              <a:alpha val="89804"/>
            </a:srgbClr>
          </a:solidFill>
          <a:ln w="3175">
            <a:noFill/>
          </a:ln>
        </p:spPr>
        <p:txBody>
          <a:bodyPr vert="horz" wrap="square" lIns="108000" tIns="288000" rIns="108000" bIns="135000" rtlCol="0" anchor="t" anchorCtr="0">
            <a:noAutofit/>
          </a:bodyPr>
          <a:lstStyle/>
          <a:p>
            <a:pPr>
              <a:spcBef>
                <a:spcPts val="1800"/>
              </a:spcBef>
            </a:pPr>
            <a:r>
              <a:rPr lang="en-GB" sz="2400" b="1">
                <a:solidFill>
                  <a:schemeClr val="bg1"/>
                </a:solidFill>
                <a:latin typeface="+mj-lt"/>
              </a:rPr>
              <a:t>Hermes Group is the largest Post-independent parcel company in Europe.</a:t>
            </a:r>
          </a:p>
        </p:txBody>
      </p:sp>
      <p:sp>
        <p:nvSpPr>
          <p:cNvPr id="11" name="Textplatzhalter 3"/>
          <p:cNvSpPr txBox="1">
            <a:spLocks/>
          </p:cNvSpPr>
          <p:nvPr/>
        </p:nvSpPr>
        <p:spPr bwMode="gray">
          <a:xfrm>
            <a:off x="7032104" y="2924944"/>
            <a:ext cx="4752528" cy="2736304"/>
          </a:xfrm>
          <a:prstGeom prst="rect">
            <a:avLst/>
          </a:prstGeom>
          <a:solidFill>
            <a:srgbClr val="0091CD">
              <a:alpha val="89804"/>
            </a:srgbClr>
          </a:solidFill>
          <a:ln w="3175">
            <a:noFill/>
          </a:ln>
        </p:spPr>
        <p:txBody>
          <a:bodyPr vert="horz" wrap="square" lIns="135000" tIns="270000" rIns="135000" bIns="270000" rtlCol="0" anchor="t" anchorCtr="0">
            <a:noAutofit/>
          </a:bodyPr>
          <a:lstStyle>
            <a:lvl1pPr marL="0" indent="0" algn="l" defTabSz="914400" rtl="0" eaLnBrk="1" latinLnBrk="0" hangingPunct="1">
              <a:lnSpc>
                <a:spcPct val="95000"/>
              </a:lnSpc>
              <a:spcBef>
                <a:spcPts val="900"/>
              </a:spcBef>
              <a:buFont typeface="Arial" panose="020B0604020202020204" pitchFamily="34" charset="0"/>
              <a:buNone/>
              <a:defRPr sz="3600" b="1" kern="1200">
                <a:solidFill>
                  <a:schemeClr val="bg1"/>
                </a:solidFill>
                <a:latin typeface="Century Gothic" charset="0"/>
                <a:ea typeface="Century Gothic" charset="0"/>
                <a:cs typeface="Century Gothic" charset="0"/>
              </a:defRPr>
            </a:lvl1pPr>
            <a:lvl2pPr marL="0" indent="0" algn="l" defTabSz="914400" rtl="0" eaLnBrk="1" latinLnBrk="0" hangingPunct="1">
              <a:lnSpc>
                <a:spcPct val="100000"/>
              </a:lnSpc>
              <a:spcBef>
                <a:spcPts val="900"/>
              </a:spcBef>
              <a:buFont typeface="Arial" panose="020B0604020202020204" pitchFamily="34" charset="0"/>
              <a:buNone/>
              <a:defRPr sz="2400" kern="1200" baseline="0">
                <a:solidFill>
                  <a:schemeClr val="bg1"/>
                </a:solidFill>
                <a:latin typeface="Century Gothic" charset="0"/>
                <a:ea typeface="Century Gothic" charset="0"/>
                <a:cs typeface="Century Gothic" charset="0"/>
              </a:defRPr>
            </a:lvl2pPr>
            <a:lvl3pPr marL="538163" indent="0" algn="l" defTabSz="914400" rtl="0" eaLnBrk="1" latinLnBrk="0" hangingPunct="1">
              <a:lnSpc>
                <a:spcPct val="100000"/>
              </a:lnSpc>
              <a:spcBef>
                <a:spcPts val="300"/>
              </a:spcBef>
              <a:buClr>
                <a:schemeClr val="accent4"/>
              </a:buClr>
              <a:buFont typeface="Arial" panose="020B0604020202020204" pitchFamily="34" charset="0"/>
              <a:buNone/>
              <a:defRPr sz="1600" kern="1200">
                <a:solidFill>
                  <a:schemeClr val="bg1"/>
                </a:solidFill>
                <a:latin typeface="Century Gothic" charset="0"/>
                <a:ea typeface="Century Gothic" charset="0"/>
                <a:cs typeface="Century Gothic" charset="0"/>
              </a:defRPr>
            </a:lvl3pPr>
            <a:lvl4pPr marL="801688"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4pPr>
            <a:lvl5pPr marL="1077912" indent="0" algn="l" defTabSz="914400" rtl="0" eaLnBrk="1" latinLnBrk="0" hangingPunct="1">
              <a:lnSpc>
                <a:spcPct val="100000"/>
              </a:lnSpc>
              <a:spcBef>
                <a:spcPts val="300"/>
              </a:spcBef>
              <a:buClr>
                <a:schemeClr val="accent4"/>
              </a:buClr>
              <a:buFont typeface="Arial" panose="020B0604020202020204" pitchFamily="34" charset="0"/>
              <a:buNone/>
              <a:defRPr sz="1400" kern="1200">
                <a:solidFill>
                  <a:schemeClr val="bg1"/>
                </a:solidFill>
                <a:latin typeface="Century Gothic" charset="0"/>
                <a:ea typeface="Century Gothic" charset="0"/>
                <a:cs typeface="Century Gothic" charset="0"/>
              </a:defRPr>
            </a:lvl5pPr>
            <a:lvl6pPr marL="720000" indent="-180000" algn="l" defTabSz="914400" rtl="0" eaLnBrk="1" latinLnBrk="0" hangingPunct="1">
              <a:lnSpc>
                <a:spcPct val="100000"/>
              </a:lnSpc>
              <a:spcBef>
                <a:spcPts val="300"/>
              </a:spcBef>
              <a:buClr>
                <a:schemeClr val="accent4"/>
              </a:buClr>
              <a:buFont typeface="Arial" panose="020B0604020202020204" pitchFamily="34" charset="0"/>
              <a:buChar char="•"/>
              <a:defRPr sz="16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6922" indent="-136922" defTabSz="685800">
              <a:spcBef>
                <a:spcPts val="675"/>
              </a:spcBef>
              <a:buFont typeface="Arial" panose="020B0604020202020204" pitchFamily="34" charset="0"/>
              <a:buChar char="•"/>
            </a:pPr>
            <a:r>
              <a:rPr lang="en-GB" sz="2000" b="0">
                <a:solidFill>
                  <a:prstClr val="white"/>
                </a:solidFill>
                <a:latin typeface="+mj-lt"/>
              </a:rPr>
              <a:t>Focus on the largest countries, UK, France, Germany</a:t>
            </a:r>
          </a:p>
          <a:p>
            <a:pPr marL="136922" indent="-136922" defTabSz="685800">
              <a:spcBef>
                <a:spcPts val="675"/>
              </a:spcBef>
              <a:buFont typeface="Arial" panose="020B0604020202020204" pitchFamily="34" charset="0"/>
              <a:buChar char="•"/>
            </a:pPr>
            <a:r>
              <a:rPr lang="en-GB" sz="2000" b="0">
                <a:solidFill>
                  <a:prstClr val="white"/>
                </a:solidFill>
                <a:latin typeface="+mj-lt"/>
              </a:rPr>
              <a:t>Hermes Germany delivers about 400 million parcels per year.</a:t>
            </a:r>
          </a:p>
          <a:p>
            <a:pPr marL="136922" indent="-136922" defTabSz="685800">
              <a:spcBef>
                <a:spcPts val="675"/>
              </a:spcBef>
              <a:buFont typeface="Arial" panose="020B0604020202020204" pitchFamily="34" charset="0"/>
              <a:buChar char="•"/>
            </a:pPr>
            <a:r>
              <a:rPr lang="en-GB" sz="2000" b="0">
                <a:solidFill>
                  <a:prstClr val="white"/>
                </a:solidFill>
                <a:latin typeface="+mj-lt"/>
              </a:rPr>
              <a:t>IT is </a:t>
            </a:r>
            <a:r>
              <a:rPr lang="en-GB" sz="2000" b="0" i="1">
                <a:solidFill>
                  <a:prstClr val="white"/>
                </a:solidFill>
                <a:latin typeface="+mj-lt"/>
              </a:rPr>
              <a:t>the </a:t>
            </a:r>
            <a:r>
              <a:rPr lang="en-GB" sz="2000" b="0">
                <a:solidFill>
                  <a:prstClr val="white"/>
                </a:solidFill>
                <a:latin typeface="+mj-lt"/>
              </a:rPr>
              <a:t>key differentiator for Hermes.</a:t>
            </a:r>
          </a:p>
        </p:txBody>
      </p:sp>
    </p:spTree>
    <p:extLst>
      <p:ext uri="{BB962C8B-B14F-4D97-AF65-F5344CB8AC3E}">
        <p14:creationId xmlns:p14="http://schemas.microsoft.com/office/powerpoint/2010/main" val="180857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rmes_Powerpoint Master_16x9_blau_DE_scr06">
  <a:themeElements>
    <a:clrScheme name="Hermes">
      <a:dk1>
        <a:srgbClr val="3C3C41"/>
      </a:dk1>
      <a:lt1>
        <a:sysClr val="window" lastClr="FFFFFF"/>
      </a:lt1>
      <a:dk2>
        <a:srgbClr val="E9530E"/>
      </a:dk2>
      <a:lt2>
        <a:srgbClr val="0091CD"/>
      </a:lt2>
      <a:accent1>
        <a:srgbClr val="0091CD"/>
      </a:accent1>
      <a:accent2>
        <a:srgbClr val="3C3C41"/>
      </a:accent2>
      <a:accent3>
        <a:srgbClr val="92D1ED"/>
      </a:accent3>
      <a:accent4>
        <a:srgbClr val="E9530E"/>
      </a:accent4>
      <a:accent5>
        <a:srgbClr val="B2B2B4"/>
      </a:accent5>
      <a:accent6>
        <a:srgbClr val="47BBE3"/>
      </a:accent6>
      <a:hlink>
        <a:srgbClr val="0091CD"/>
      </a:hlink>
      <a:folHlink>
        <a:srgbClr val="92D1ED"/>
      </a:folHlink>
    </a:clrScheme>
    <a:fontScheme name="Herm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ctr"/>
      <a:lstStyle>
        <a:defPPr marL="180000" indent="-180000" algn="l">
          <a:spcBef>
            <a:spcPts val="300"/>
          </a:spcBef>
          <a:buFont typeface="Arial" panose="020B060402020202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300"/>
          </a:spcBef>
          <a:buClr>
            <a:schemeClr val="tx2"/>
          </a:buClr>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Hermes_Powerpoint Master_16x9.potx" id="{8ED5283F-3B2B-4CAC-A3E3-E6F7113D4D48}" vid="{C1ECDD10-4D5E-450C-8D3A-B3993A8301EF}"/>
    </a:ext>
  </a:extLst>
</a:theme>
</file>

<file path=ppt/theme/theme2.xml><?xml version="1.0" encoding="utf-8"?>
<a:theme xmlns:a="http://schemas.openxmlformats.org/drawingml/2006/main" name="Office Theme">
  <a:themeElements>
    <a:clrScheme name="Hermes">
      <a:dk1>
        <a:srgbClr val="3C3C41"/>
      </a:dk1>
      <a:lt1>
        <a:sysClr val="window" lastClr="FFFFFF"/>
      </a:lt1>
      <a:dk2>
        <a:srgbClr val="E9530E"/>
      </a:dk2>
      <a:lt2>
        <a:srgbClr val="0091CD"/>
      </a:lt2>
      <a:accent1>
        <a:srgbClr val="0091CD"/>
      </a:accent1>
      <a:accent2>
        <a:srgbClr val="3C3C41"/>
      </a:accent2>
      <a:accent3>
        <a:srgbClr val="92D1ED"/>
      </a:accent3>
      <a:accent4>
        <a:srgbClr val="E9530E"/>
      </a:accent4>
      <a:accent5>
        <a:srgbClr val="B2B2B4"/>
      </a:accent5>
      <a:accent6>
        <a:srgbClr val="47BBE3"/>
      </a:accent6>
      <a:hlink>
        <a:srgbClr val="0091CD"/>
      </a:hlink>
      <a:folHlink>
        <a:srgbClr val="92D1ED"/>
      </a:folHlink>
    </a:clrScheme>
    <a:fontScheme name="Herm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rmes">
      <a:dk1>
        <a:srgbClr val="3C3C41"/>
      </a:dk1>
      <a:lt1>
        <a:sysClr val="window" lastClr="FFFFFF"/>
      </a:lt1>
      <a:dk2>
        <a:srgbClr val="E9530E"/>
      </a:dk2>
      <a:lt2>
        <a:srgbClr val="0091CD"/>
      </a:lt2>
      <a:accent1>
        <a:srgbClr val="0091CD"/>
      </a:accent1>
      <a:accent2>
        <a:srgbClr val="3C3C41"/>
      </a:accent2>
      <a:accent3>
        <a:srgbClr val="92D1ED"/>
      </a:accent3>
      <a:accent4>
        <a:srgbClr val="E9530E"/>
      </a:accent4>
      <a:accent5>
        <a:srgbClr val="B2B2B4"/>
      </a:accent5>
      <a:accent6>
        <a:srgbClr val="47BBE3"/>
      </a:accent6>
      <a:hlink>
        <a:srgbClr val="0091CD"/>
      </a:hlink>
      <a:folHlink>
        <a:srgbClr val="92D1ED"/>
      </a:folHlink>
    </a:clrScheme>
    <a:fontScheme name="Herm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21AA87C2F46F3488CA5C3766527493C" ma:contentTypeVersion="11" ma:contentTypeDescription="Ein neues Dokument erstellen." ma:contentTypeScope="" ma:versionID="a566799fd852597e63710445100c8871">
  <xsd:schema xmlns:xsd="http://www.w3.org/2001/XMLSchema" xmlns:xs="http://www.w3.org/2001/XMLSchema" xmlns:p="http://schemas.microsoft.com/office/2006/metadata/properties" xmlns:ns3="fc73d2cd-0944-4c03-a505-c4f32df4d54c" xmlns:ns4="7a0f08b9-b732-4618-8015-60399c38074a" targetNamespace="http://schemas.microsoft.com/office/2006/metadata/properties" ma:root="true" ma:fieldsID="50d968e0328d0f65705b6a34c8ae8e8e" ns3:_="" ns4:_="">
    <xsd:import namespace="fc73d2cd-0944-4c03-a505-c4f32df4d54c"/>
    <xsd:import namespace="7a0f08b9-b732-4618-8015-60399c38074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73d2cd-0944-4c03-a505-c4f32df4d5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0f08b9-b732-4618-8015-60399c38074a"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SharingHintHash" ma:index="16"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A94F910-421E-4705-B6B0-B2A733512E76}">
  <ds:schemaRefs>
    <ds:schemaRef ds:uri="http://schemas.microsoft.com/sharepoint/v3/contenttype/forms"/>
  </ds:schemaRefs>
</ds:datastoreItem>
</file>

<file path=customXml/itemProps2.xml><?xml version="1.0" encoding="utf-8"?>
<ds:datastoreItem xmlns:ds="http://schemas.openxmlformats.org/officeDocument/2006/customXml" ds:itemID="{E12AE8AE-42D5-4513-B50E-8F248DED24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73d2cd-0944-4c03-a505-c4f32df4d54c"/>
    <ds:schemaRef ds:uri="7a0f08b9-b732-4618-8015-60399c3807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ED6B33-FE3C-40C4-B0A7-DF0FB3639D75}">
  <ds:schemaRefs>
    <ds:schemaRef ds:uri="http://purl.org/dc/dcmitype/"/>
    <ds:schemaRef ds:uri="http://schemas.microsoft.com/office/infopath/2007/PartnerControls"/>
    <ds:schemaRef ds:uri="fc73d2cd-0944-4c03-a505-c4f32df4d54c"/>
    <ds:schemaRef ds:uri="http://purl.org/dc/elements/1.1/"/>
    <ds:schemaRef ds:uri="http://schemas.microsoft.com/office/2006/documentManagement/types"/>
    <ds:schemaRef ds:uri="http://purl.org/dc/terms/"/>
    <ds:schemaRef ds:uri="http://schemas.openxmlformats.org/package/2006/metadata/core-properties"/>
    <ds:schemaRef ds:uri="7a0f08b9-b732-4618-8015-60399c38074a"/>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Hermes_Powerpoint Master_16x9_blau_DE_scr06</Template>
  <TotalTime>0</TotalTime>
  <Words>1475</Words>
  <Application>Microsoft Office PowerPoint</Application>
  <PresentationFormat>Breitbild</PresentationFormat>
  <Paragraphs>334</Paragraphs>
  <Slides>53</Slides>
  <Notes>4</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1</vt:i4>
      </vt:variant>
      <vt:variant>
        <vt:lpstr>Folientitel</vt:lpstr>
      </vt:variant>
      <vt:variant>
        <vt:i4>53</vt:i4>
      </vt:variant>
    </vt:vector>
  </HeadingPairs>
  <TitlesOfParts>
    <vt:vector size="56" baseType="lpstr">
      <vt:lpstr>Arial</vt:lpstr>
      <vt:lpstr>Hermes_Powerpoint Master_16x9_blau_DE_scr06</vt:lpstr>
      <vt:lpstr>think-cell Folie</vt:lpstr>
      <vt:lpstr>      DevOps Enterprise Summit London 23-25 June, 2020</vt:lpstr>
      <vt:lpstr>Timing</vt:lpstr>
      <vt:lpstr>PowerPoint-Präsentation</vt:lpstr>
      <vt:lpstr>Ablauf</vt:lpstr>
      <vt:lpstr>Storyline</vt:lpstr>
      <vt:lpstr>PowerPoint-Präsentation</vt:lpstr>
      <vt:lpstr>Call for papers</vt:lpstr>
      <vt:lpstr>PowerPoint-Präsentation</vt:lpstr>
      <vt:lpstr>PowerPoint-Präsentation</vt:lpstr>
      <vt:lpstr>PowerPoint-Präsentation</vt:lpstr>
      <vt:lpstr>PowerPoint-Präsentation</vt:lpstr>
      <vt:lpstr>PowerPoint-Präsentation</vt:lpstr>
      <vt:lpstr>Our starting point</vt:lpstr>
      <vt:lpstr>What influenced us</vt:lpstr>
      <vt:lpstr>PowerPoint-Präsentation</vt:lpstr>
      <vt:lpstr>Typical Agility according to Klaus Leopold</vt:lpstr>
      <vt:lpstr>Idea to impact</vt:lpstr>
      <vt:lpstr>We started using agile frameworks in development like most of the companies do</vt:lpstr>
      <vt:lpstr>Step by step, the delivery process gets optimized by employing agile principles</vt:lpstr>
      <vt:lpstr>Our approach to DevOps</vt:lpstr>
      <vt:lpstr>i2i</vt:lpstr>
      <vt:lpstr>PowerPoint-Präsentation</vt:lpstr>
      <vt:lpstr>Growing mindsets</vt:lpstr>
      <vt:lpstr>Growing mindsets</vt:lpstr>
      <vt:lpstr>Blurring the edges between business and IT</vt:lpstr>
      <vt:lpstr>Blurring the edges between business and IT</vt:lpstr>
      <vt:lpstr>Collaborating and understanding</vt:lpstr>
      <vt:lpstr>Blurring the edges between business and IT – Learnings for us</vt:lpstr>
      <vt:lpstr>Growing mindsets</vt:lpstr>
      <vt:lpstr>Development-paths</vt:lpstr>
      <vt:lpstr>T-shaped profile</vt:lpstr>
      <vt:lpstr>Our next challenges</vt:lpstr>
      <vt:lpstr>PowerPoint-Präsentation</vt:lpstr>
      <vt:lpstr>Diversity within the organization</vt:lpstr>
      <vt:lpstr>PowerPoint-Präsentation</vt:lpstr>
      <vt:lpstr>Out of scope</vt:lpstr>
      <vt:lpstr>PowerPoint-Präsentation</vt:lpstr>
      <vt:lpstr>PowerPoint-Präsentation</vt:lpstr>
      <vt:lpstr>PowerPoint-Präsentation</vt:lpstr>
      <vt:lpstr>PowerPoint-Präsentation</vt:lpstr>
      <vt:lpstr>Interdepencies in a company</vt:lpstr>
      <vt:lpstr>Change - What things to take into account</vt:lpstr>
      <vt:lpstr>Ideas</vt:lpstr>
      <vt:lpstr>Ideas</vt:lpstr>
      <vt:lpstr>General terms to use</vt:lpstr>
      <vt:lpstr>Folien Ideen</vt:lpstr>
      <vt:lpstr>Folien Ideen</vt:lpstr>
      <vt:lpstr>Folien Ideen</vt:lpstr>
      <vt:lpstr>Gedanken</vt:lpstr>
      <vt:lpstr>PowerPoint-Präsentation</vt:lpstr>
      <vt:lpstr>To Do</vt:lpstr>
      <vt:lpstr>PowerPoint-Präsentation</vt:lpstr>
      <vt:lpstr>PowerPoint-Präsentation</vt:lpstr>
    </vt:vector>
  </TitlesOfParts>
  <Company>Herm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Thema der Präsentation</dc:subject>
  <dc:creator>Grundmann, Johannes</dc:creator>
  <dc:description>Optimiert für Powerpoint 2010</dc:description>
  <cp:lastModifiedBy>Stapel, Stephan</cp:lastModifiedBy>
  <cp:revision>1</cp:revision>
  <cp:lastPrinted>2020-03-11T12:48:25Z</cp:lastPrinted>
  <dcterms:created xsi:type="dcterms:W3CDTF">2016-07-12T11:08:51Z</dcterms:created>
  <dcterms:modified xsi:type="dcterms:W3CDTF">2020-06-01T16:39:11Z</dcterms:modified>
  <cp:category>Powerpoint Vorlag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1AA87C2F46F3488CA5C3766527493C</vt:lpwstr>
  </property>
</Properties>
</file>